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13.xml" ContentType="application/vnd.openxmlformats-officedocument.presentationml.tags+xml"/>
  <Override PartName="/ppt/notesSlides/notesSlide1.xml" ContentType="application/vnd.openxmlformats-officedocument.presentationml.notesSlide+xml"/>
  <Override PartName="/ppt/tags/tag14.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15.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896" r:id="rId4"/>
  </p:sldMasterIdLst>
  <p:notesMasterIdLst>
    <p:notesMasterId r:id="rId11"/>
  </p:notesMasterIdLst>
  <p:handoutMasterIdLst>
    <p:handoutMasterId r:id="rId12"/>
  </p:handoutMasterIdLst>
  <p:sldIdLst>
    <p:sldId id="256" r:id="rId5"/>
    <p:sldId id="325" r:id="rId6"/>
    <p:sldId id="329" r:id="rId7"/>
    <p:sldId id="331" r:id="rId8"/>
    <p:sldId id="330" r:id="rId9"/>
    <p:sldId id="328" r:id="rId10"/>
  </p:sldIdLst>
  <p:sldSz cx="12192000" cy="6858000"/>
  <p:notesSz cx="6858000" cy="9144000"/>
  <p:custDataLst>
    <p:tags r:id="rId13"/>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7324"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7" name="Steve Hollingshead" initials="SH" lastIdx="1" clrIdx="6"/>
  <p:cmAuthor id="6" name="Author" initials="A" lastIdx="0" clrIdx="5"/>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A5580"/>
    <a:srgbClr val="7FAFDE"/>
    <a:srgbClr val="7993BA"/>
    <a:srgbClr val="8FACCC"/>
    <a:srgbClr val="394F73"/>
    <a:srgbClr val="88ABCC"/>
    <a:srgbClr val="6287B3"/>
    <a:srgbClr val="789ABD"/>
    <a:srgbClr val="84A0BD"/>
    <a:srgbClr val="8FADC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6B8EF5B-68AA-4E60-9A13-38567DDB42E2}" v="1" dt="2024-10-16T04:03:59.751"/>
  </p1510:revLst>
</p1510:revInfo>
</file>

<file path=ppt/tableStyles.xml><?xml version="1.0" encoding="utf-8"?>
<a:tblStyleLst xmlns:a="http://schemas.openxmlformats.org/drawingml/2006/main" def="{F2DE63D5-997A-4646-A377-4702673A728D}">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35758FB7-9AC5-4552-8A53-C91805E547FA}" styleName="Themed Style 1 - Accent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8799B23B-EC83-4686-B30A-512413B5E67A}" styleName="Light Style 3 - Accent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995" autoAdjust="0"/>
    <p:restoredTop sz="94660"/>
  </p:normalViewPr>
  <p:slideViewPr>
    <p:cSldViewPr snapToGrid="0">
      <p:cViewPr varScale="1">
        <p:scale>
          <a:sx n="105" d="100"/>
          <a:sy n="105" d="100"/>
        </p:scale>
        <p:origin x="834" y="96"/>
      </p:cViewPr>
      <p:guideLst>
        <p:guide orient="horz" pos="2160"/>
        <p:guide pos="7324"/>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tags" Target="tags/tag1.xml"/><Relationship Id="rId18"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slide" Target="slides/slide3.xml"/><Relationship Id="rId12" Type="http://schemas.openxmlformats.org/officeDocument/2006/relationships/handoutMaster" Target="handoutMasters/handoutMaster1.xml"/><Relationship Id="rId17"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viewProps" Target="viewProps.xml"/><Relationship Id="rId20"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notesMaster" Target="notesMasters/notesMaster1.xml"/><Relationship Id="rId5" Type="http://schemas.openxmlformats.org/officeDocument/2006/relationships/slide" Target="slides/slide1.xml"/><Relationship Id="rId15" Type="http://schemas.openxmlformats.org/officeDocument/2006/relationships/presProps" Target="presProps.xml"/><Relationship Id="rId10" Type="http://schemas.openxmlformats.org/officeDocument/2006/relationships/slide" Target="slides/slide6.xml"/><Relationship Id="rId19" Type="http://schemas.microsoft.com/office/2016/11/relationships/changesInfo" Target="changesInfos/changesInfo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commentAuthors" Target="commentAuthor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Nat Mohan" userId="b87a3379-9b01-47a9-a23a-2af77397e0dd" providerId="ADAL" clId="{36B8EF5B-68AA-4E60-9A13-38567DDB42E2}"/>
    <pc:docChg chg="undo custSel modSld">
      <pc:chgData name="Nat Mohan" userId="b87a3379-9b01-47a9-a23a-2af77397e0dd" providerId="ADAL" clId="{36B8EF5B-68AA-4E60-9A13-38567DDB42E2}" dt="2024-10-16T04:04:10.788" v="228" actId="20577"/>
      <pc:docMkLst>
        <pc:docMk/>
      </pc:docMkLst>
      <pc:sldChg chg="modSp mod">
        <pc:chgData name="Nat Mohan" userId="b87a3379-9b01-47a9-a23a-2af77397e0dd" providerId="ADAL" clId="{36B8EF5B-68AA-4E60-9A13-38567DDB42E2}" dt="2024-10-15T22:24:27.254" v="21" actId="20577"/>
        <pc:sldMkLst>
          <pc:docMk/>
          <pc:sldMk cId="1414950004" sldId="256"/>
        </pc:sldMkLst>
        <pc:spChg chg="mod">
          <ac:chgData name="Nat Mohan" userId="b87a3379-9b01-47a9-a23a-2af77397e0dd" providerId="ADAL" clId="{36B8EF5B-68AA-4E60-9A13-38567DDB42E2}" dt="2024-10-15T22:24:27.254" v="21" actId="20577"/>
          <ac:spMkLst>
            <pc:docMk/>
            <pc:sldMk cId="1414950004" sldId="256"/>
            <ac:spMk id="2" creationId="{00000000-0000-0000-0000-000000000000}"/>
          </ac:spMkLst>
        </pc:spChg>
        <pc:spChg chg="mod">
          <ac:chgData name="Nat Mohan" userId="b87a3379-9b01-47a9-a23a-2af77397e0dd" providerId="ADAL" clId="{36B8EF5B-68AA-4E60-9A13-38567DDB42E2}" dt="2024-10-15T22:24:21.121" v="4" actId="20577"/>
          <ac:spMkLst>
            <pc:docMk/>
            <pc:sldMk cId="1414950004" sldId="256"/>
            <ac:spMk id="4" creationId="{00000000-0000-0000-0000-000000000000}"/>
          </ac:spMkLst>
        </pc:spChg>
      </pc:sldChg>
      <pc:sldChg chg="modSp mod">
        <pc:chgData name="Nat Mohan" userId="b87a3379-9b01-47a9-a23a-2af77397e0dd" providerId="ADAL" clId="{36B8EF5B-68AA-4E60-9A13-38567DDB42E2}" dt="2024-10-15T22:30:21.983" v="221" actId="255"/>
        <pc:sldMkLst>
          <pc:docMk/>
          <pc:sldMk cId="1928199108" sldId="325"/>
        </pc:sldMkLst>
        <pc:spChg chg="mod">
          <ac:chgData name="Nat Mohan" userId="b87a3379-9b01-47a9-a23a-2af77397e0dd" providerId="ADAL" clId="{36B8EF5B-68AA-4E60-9A13-38567DDB42E2}" dt="2024-10-15T22:30:21.983" v="221" actId="255"/>
          <ac:spMkLst>
            <pc:docMk/>
            <pc:sldMk cId="1928199108" sldId="325"/>
            <ac:spMk id="4" creationId="{00000000-0000-0000-0000-000000000000}"/>
          </ac:spMkLst>
        </pc:spChg>
      </pc:sldChg>
      <pc:sldChg chg="addSp delSp modSp mod">
        <pc:chgData name="Nat Mohan" userId="b87a3379-9b01-47a9-a23a-2af77397e0dd" providerId="ADAL" clId="{36B8EF5B-68AA-4E60-9A13-38567DDB42E2}" dt="2024-10-16T04:04:10.788" v="228" actId="20577"/>
        <pc:sldMkLst>
          <pc:docMk/>
          <pc:sldMk cId="2501978613" sldId="329"/>
        </pc:sldMkLst>
        <pc:spChg chg="mod">
          <ac:chgData name="Nat Mohan" userId="b87a3379-9b01-47a9-a23a-2af77397e0dd" providerId="ADAL" clId="{36B8EF5B-68AA-4E60-9A13-38567DDB42E2}" dt="2024-10-16T04:04:10.788" v="228" actId="20577"/>
          <ac:spMkLst>
            <pc:docMk/>
            <pc:sldMk cId="2501978613" sldId="329"/>
            <ac:spMk id="3" creationId="{A551A5AE-7CF9-9CDA-8045-5234A86E94BA}"/>
          </ac:spMkLst>
        </pc:spChg>
        <pc:picChg chg="add mod">
          <ac:chgData name="Nat Mohan" userId="b87a3379-9b01-47a9-a23a-2af77397e0dd" providerId="ADAL" clId="{36B8EF5B-68AA-4E60-9A13-38567DDB42E2}" dt="2024-10-16T04:04:04.192" v="227" actId="1076"/>
          <ac:picMkLst>
            <pc:docMk/>
            <pc:sldMk cId="2501978613" sldId="329"/>
            <ac:picMk id="5" creationId="{C9B89824-2986-4F70-D4FE-8C4196A519B0}"/>
          </ac:picMkLst>
        </pc:picChg>
        <pc:picChg chg="del">
          <ac:chgData name="Nat Mohan" userId="b87a3379-9b01-47a9-a23a-2af77397e0dd" providerId="ADAL" clId="{36B8EF5B-68AA-4E60-9A13-38567DDB42E2}" dt="2024-10-15T22:30:34.758" v="222" actId="478"/>
          <ac:picMkLst>
            <pc:docMk/>
            <pc:sldMk cId="2501978613" sldId="329"/>
            <ac:picMk id="12" creationId="{5BE7122F-8376-9780-E4AD-B1E73D058AED}"/>
          </ac:picMkLst>
        </pc:picChg>
      </pc:sldChg>
      <pc:sldChg chg="modSp mod">
        <pc:chgData name="Nat Mohan" userId="b87a3379-9b01-47a9-a23a-2af77397e0dd" providerId="ADAL" clId="{36B8EF5B-68AA-4E60-9A13-38567DDB42E2}" dt="2024-10-15T22:31:10.150" v="223" actId="20577"/>
        <pc:sldMkLst>
          <pc:docMk/>
          <pc:sldMk cId="641535623" sldId="330"/>
        </pc:sldMkLst>
        <pc:spChg chg="mod">
          <ac:chgData name="Nat Mohan" userId="b87a3379-9b01-47a9-a23a-2af77397e0dd" providerId="ADAL" clId="{36B8EF5B-68AA-4E60-9A13-38567DDB42E2}" dt="2024-10-15T22:31:10.150" v="223" actId="20577"/>
          <ac:spMkLst>
            <pc:docMk/>
            <pc:sldMk cId="641535623" sldId="330"/>
            <ac:spMk id="4" creationId="{2DC68EDF-3095-98EA-C6F0-A8E474817FA0}"/>
          </ac:spMkLst>
        </pc:sp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C9CCC7E7-F3BB-4C01-9E07-CC12EE5FACB1}" type="datetimeFigureOut">
              <a:rPr lang="en-US" smtClean="0"/>
              <a:t>10/15/2024</a:t>
            </a:fld>
            <a:endParaRPr lang="en-US"/>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E6D10A22-69EE-4BE4-B8C6-7DE3C43AEEB0}" type="slidenum">
              <a:rPr lang="en-US" smtClean="0"/>
              <a:t>‹#›</a:t>
            </a:fld>
            <a:endParaRPr lang="en-US"/>
          </a:p>
        </p:txBody>
      </p:sp>
    </p:spTree>
    <p:extLst>
      <p:ext uri="{BB962C8B-B14F-4D97-AF65-F5344CB8AC3E}">
        <p14:creationId xmlns:p14="http://schemas.microsoft.com/office/powerpoint/2010/main" val="2"/>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5710ADA1-87DF-4773-876C-7B0D0EF4AF4C}" type="datetimeFigureOut">
              <a:rPr lang="en-US" smtClean="0"/>
              <a:pPr/>
              <a:t>10/15/2024</a:t>
            </a:fld>
            <a:endParaRPr lang="en-US"/>
          </a:p>
        </p:txBody>
      </p:sp>
      <p:sp>
        <p:nvSpPr>
          <p:cNvPr id="4" name="Slide Image Placeholder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473E8DD3-7F5E-4F38-8DF1-E0849E959DFE}" type="slidenum">
              <a:rPr lang="en-US" smtClean="0"/>
              <a:pPr/>
              <a:t>‹#›</a:t>
            </a:fld>
            <a:endParaRPr lang="en-US"/>
          </a:p>
        </p:txBody>
      </p:sp>
    </p:spTree>
    <p:extLst>
      <p:ext uri="{BB962C8B-B14F-4D97-AF65-F5344CB8AC3E}">
        <p14:creationId xmlns:p14="http://schemas.microsoft.com/office/powerpoint/2010/main" val="1"/>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73E8DD3-7F5E-4F38-8DF1-E0849E959DFE}"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07031157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73E8DD3-7F5E-4F38-8DF1-E0849E959DFE}" type="slidenum">
              <a:rPr lang="en-US" smtClean="0"/>
              <a:pPr/>
              <a:t>2</a:t>
            </a:fld>
            <a:endParaRPr lang="en-US"/>
          </a:p>
        </p:txBody>
      </p:sp>
    </p:spTree>
    <p:extLst>
      <p:ext uri="{BB962C8B-B14F-4D97-AF65-F5344CB8AC3E}">
        <p14:creationId xmlns:p14="http://schemas.microsoft.com/office/powerpoint/2010/main" val="274703844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73E8DD3-7F5E-4F38-8DF1-E0849E959DFE}" type="slidenum">
              <a:rPr lang="en-US" smtClean="0"/>
              <a:pPr/>
              <a:t>4</a:t>
            </a:fld>
            <a:endParaRPr lang="en-US"/>
          </a:p>
        </p:txBody>
      </p:sp>
    </p:spTree>
    <p:extLst>
      <p:ext uri="{BB962C8B-B14F-4D97-AF65-F5344CB8AC3E}">
        <p14:creationId xmlns:p14="http://schemas.microsoft.com/office/powerpoint/2010/main" val="122581712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slideMaster" Target="../slideMasters/slideMaster1.xml"/><Relationship Id="rId1" Type="http://schemas.openxmlformats.org/officeDocument/2006/relationships/tags" Target="../tags/tag4.x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5.xml"/><Relationship Id="rId6" Type="http://schemas.openxmlformats.org/officeDocument/2006/relationships/image" Target="../media/image4.svg"/><Relationship Id="rId5" Type="http://schemas.openxmlformats.org/officeDocument/2006/relationships/image" Target="../media/image3.png"/><Relationship Id="rId4" Type="http://schemas.openxmlformats.org/officeDocument/2006/relationships/image" Target="../media/image1.emf"/></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6.xml"/><Relationship Id="rId6" Type="http://schemas.openxmlformats.org/officeDocument/2006/relationships/image" Target="../media/image4.svg"/><Relationship Id="rId5" Type="http://schemas.openxmlformats.org/officeDocument/2006/relationships/image" Target="../media/image3.png"/><Relationship Id="rId4" Type="http://schemas.openxmlformats.org/officeDocument/2006/relationships/image" Target="../media/image1.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7.xml"/><Relationship Id="rId6" Type="http://schemas.openxmlformats.org/officeDocument/2006/relationships/image" Target="../media/image4.svg"/><Relationship Id="rId5" Type="http://schemas.openxmlformats.org/officeDocument/2006/relationships/image" Target="../media/image3.png"/><Relationship Id="rId4"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8.xml"/><Relationship Id="rId6" Type="http://schemas.openxmlformats.org/officeDocument/2006/relationships/image" Target="../media/image4.svg"/><Relationship Id="rId5" Type="http://schemas.openxmlformats.org/officeDocument/2006/relationships/image" Target="../media/image3.png"/><Relationship Id="rId4" Type="http://schemas.openxmlformats.org/officeDocument/2006/relationships/image" Target="../media/image1.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9.xml"/><Relationship Id="rId6" Type="http://schemas.openxmlformats.org/officeDocument/2006/relationships/image" Target="../media/image4.svg"/><Relationship Id="rId5" Type="http://schemas.openxmlformats.org/officeDocument/2006/relationships/image" Target="../media/image3.png"/><Relationship Id="rId4"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10.xml"/><Relationship Id="rId6" Type="http://schemas.openxmlformats.org/officeDocument/2006/relationships/image" Target="../media/image4.svg"/><Relationship Id="rId5" Type="http://schemas.openxmlformats.org/officeDocument/2006/relationships/image" Target="../media/image3.png"/><Relationship Id="rId4"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11.xml"/><Relationship Id="rId6" Type="http://schemas.openxmlformats.org/officeDocument/2006/relationships/image" Target="../media/image4.svg"/><Relationship Id="rId5" Type="http://schemas.openxmlformats.org/officeDocument/2006/relationships/image" Target="../media/image3.png"/><Relationship Id="rId4" Type="http://schemas.openxmlformats.org/officeDocument/2006/relationships/image" Target="../media/image1.emf"/></Relationships>
</file>

<file path=ppt/slideLayouts/_rels/slideLayout9.xml.rels><?xml version="1.0" encoding="UTF-8" standalone="yes"?>
<Relationships xmlns="http://schemas.openxmlformats.org/package/2006/relationships"><Relationship Id="rId8" Type="http://schemas.openxmlformats.org/officeDocument/2006/relationships/image" Target="../media/image8.svg"/><Relationship Id="rId13" Type="http://schemas.openxmlformats.org/officeDocument/2006/relationships/image" Target="../media/image10.png"/><Relationship Id="rId18" Type="http://schemas.openxmlformats.org/officeDocument/2006/relationships/image" Target="../media/image3.png"/><Relationship Id="rId3" Type="http://schemas.openxmlformats.org/officeDocument/2006/relationships/oleObject" Target="../embeddings/oleObject10.bin"/><Relationship Id="rId7" Type="http://schemas.openxmlformats.org/officeDocument/2006/relationships/image" Target="../media/image7.png"/><Relationship Id="rId12" Type="http://schemas.openxmlformats.org/officeDocument/2006/relationships/hyperlink" Target="https://www.linkedin.com/company/trinitylifesciences/" TargetMode="External"/><Relationship Id="rId17" Type="http://schemas.microsoft.com/office/2007/relationships/hdphoto" Target="../media/hdphoto3.wdp"/><Relationship Id="rId2" Type="http://schemas.openxmlformats.org/officeDocument/2006/relationships/slideMaster" Target="../slideMasters/slideMaster1.xml"/><Relationship Id="rId16" Type="http://schemas.openxmlformats.org/officeDocument/2006/relationships/image" Target="../media/image11.png"/><Relationship Id="rId1" Type="http://schemas.openxmlformats.org/officeDocument/2006/relationships/tags" Target="../tags/tag12.xml"/><Relationship Id="rId6" Type="http://schemas.openxmlformats.org/officeDocument/2006/relationships/hyperlink" Target="http://www.trinitypartners.com/" TargetMode="External"/><Relationship Id="rId11" Type="http://schemas.microsoft.com/office/2007/relationships/hdphoto" Target="../media/hdphoto1.wdp"/><Relationship Id="rId5" Type="http://schemas.openxmlformats.org/officeDocument/2006/relationships/image" Target="../media/image6.jpeg"/><Relationship Id="rId15" Type="http://schemas.openxmlformats.org/officeDocument/2006/relationships/hyperlink" Target="https://www.facebook.com/TrinityLifeSciences" TargetMode="External"/><Relationship Id="rId10" Type="http://schemas.openxmlformats.org/officeDocument/2006/relationships/image" Target="../media/image9.png"/><Relationship Id="rId19" Type="http://schemas.openxmlformats.org/officeDocument/2006/relationships/image" Target="../media/image12.svg"/><Relationship Id="rId4" Type="http://schemas.openxmlformats.org/officeDocument/2006/relationships/image" Target="../media/image5.emf"/><Relationship Id="rId9" Type="http://schemas.openxmlformats.org/officeDocument/2006/relationships/hyperlink" Target="https://twitter.com/trinitylifesci" TargetMode="External"/><Relationship Id="rId14" Type="http://schemas.microsoft.com/office/2007/relationships/hdphoto" Target="../media/hdphoto2.wdp"/></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13" name="Picture 12"/>
          <p:cNvPicPr>
            <a:picLocks noChangeAspect="1"/>
          </p:cNvPicPr>
          <p:nvPr userDrawn="1"/>
        </p:nvPicPr>
        <p:blipFill>
          <a:blip r:embed="rId3" cstate="print">
            <a:extLst>
              <a:ext uri="{28A0092B-C50C-407E-A947-70E740481C1C}">
                <a14:useLocalDpi xmlns:a14="http://schemas.microsoft.com/office/drawing/2010/main" val="0"/>
              </a:ext>
            </a:extLst>
          </a:blip>
          <a:srcRect/>
          <a:stretch/>
        </p:blipFill>
        <p:spPr>
          <a:xfrm>
            <a:off x="0" y="0"/>
            <a:ext cx="12192000" cy="4267200"/>
          </a:xfrm>
          <a:prstGeom prst="rect">
            <a:avLst/>
          </a:prstGeom>
        </p:spPr>
      </p:pic>
      <p:sp>
        <p:nvSpPr>
          <p:cNvPr id="12" name="Isosceles Triangle 31">
            <a:extLst>
              <a:ext uri="{FF2B5EF4-FFF2-40B4-BE49-F238E27FC236}">
                <a16:creationId xmlns:a16="http://schemas.microsoft.com/office/drawing/2014/main" id="{8A734E0B-92B4-9A4D-A119-A33601223E92}"/>
              </a:ext>
            </a:extLst>
          </p:cNvPr>
          <p:cNvSpPr/>
          <p:nvPr userDrawn="1"/>
        </p:nvSpPr>
        <p:spPr>
          <a:xfrm>
            <a:off x="0" y="-7023"/>
            <a:ext cx="12192003" cy="4274224"/>
          </a:xfrm>
          <a:prstGeom prst="triangle">
            <a:avLst>
              <a:gd name="adj" fmla="val 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graphicFrame>
        <p:nvGraphicFramePr>
          <p:cNvPr id="11" name="Object 10" hidden="1"/>
          <p:cNvGraphicFramePr>
            <a:graphicFrameLocks noChangeAspect="1"/>
          </p:cNvGraphicFramePr>
          <p:nvPr userDrawn="1">
            <p:custDataLst>
              <p:tags r:id="rId1"/>
            </p:custDataLst>
            <p:extLst>
              <p:ext uri="{D42A27DB-BD31-4B8C-83A1-F6EECF244321}">
                <p14:modId xmlns:p14="http://schemas.microsoft.com/office/powerpoint/2010/main" val="1238974696"/>
              </p:ext>
            </p:extLst>
          </p:nvPr>
        </p:nvGraphicFramePr>
        <p:xfrm>
          <a:off x="2119" y="1593"/>
          <a:ext cx="2116" cy="1587"/>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11" name="Object 10" hidden="1"/>
                      <p:cNvPicPr/>
                      <p:nvPr/>
                    </p:nvPicPr>
                    <p:blipFill>
                      <a:blip r:embed="rId5"/>
                      <a:stretch>
                        <a:fillRect/>
                      </a:stretch>
                    </p:blipFill>
                    <p:spPr>
                      <a:xfrm>
                        <a:off x="2119" y="1593"/>
                        <a:ext cx="2116" cy="1587"/>
                      </a:xfrm>
                      <a:prstGeom prst="rect">
                        <a:avLst/>
                      </a:prstGeom>
                    </p:spPr>
                  </p:pic>
                </p:oleObj>
              </mc:Fallback>
            </mc:AlternateContent>
          </a:graphicData>
        </a:graphic>
      </p:graphicFrame>
      <p:sp>
        <p:nvSpPr>
          <p:cNvPr id="2" name="Title 1"/>
          <p:cNvSpPr>
            <a:spLocks noGrp="1"/>
          </p:cNvSpPr>
          <p:nvPr>
            <p:ph type="ctrTitle"/>
          </p:nvPr>
        </p:nvSpPr>
        <p:spPr>
          <a:xfrm>
            <a:off x="1993392" y="4288211"/>
            <a:ext cx="8165592" cy="582356"/>
          </a:xfrm>
        </p:spPr>
        <p:txBody>
          <a:bodyPr vert="horz" anchor="b" anchorCtr="0"/>
          <a:lstStyle>
            <a:lvl1pPr>
              <a:defRPr sz="2800" b="0" spc="120" baseline="0">
                <a:solidFill>
                  <a:schemeClr val="tx1"/>
                </a:solidFill>
              </a:defRPr>
            </a:lvl1pPr>
          </a:lstStyle>
          <a:p>
            <a:r>
              <a:rPr lang="en-US"/>
              <a:t>Click to edit Master title style</a:t>
            </a:r>
          </a:p>
        </p:txBody>
      </p:sp>
      <p:sp>
        <p:nvSpPr>
          <p:cNvPr id="3" name="Subtitle 2"/>
          <p:cNvSpPr>
            <a:spLocks noGrp="1"/>
          </p:cNvSpPr>
          <p:nvPr>
            <p:ph type="subTitle" idx="1"/>
          </p:nvPr>
        </p:nvSpPr>
        <p:spPr>
          <a:xfrm>
            <a:off x="1993392" y="4971085"/>
            <a:ext cx="8165592" cy="335280"/>
          </a:xfrm>
        </p:spPr>
        <p:txBody>
          <a:bodyPr anchor="b" anchorCtr="0">
            <a:noAutofit/>
          </a:bodyPr>
          <a:lstStyle>
            <a:lvl1pPr marL="0" indent="0" algn="l">
              <a:buNone/>
              <a:defRPr sz="180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9" name="Text Placeholder 8"/>
          <p:cNvSpPr>
            <a:spLocks noGrp="1"/>
          </p:cNvSpPr>
          <p:nvPr>
            <p:ph type="body" sz="quarter" idx="13" hasCustomPrompt="1"/>
          </p:nvPr>
        </p:nvSpPr>
        <p:spPr>
          <a:xfrm>
            <a:off x="1993392" y="5406888"/>
            <a:ext cx="4876800" cy="304800"/>
          </a:xfrm>
        </p:spPr>
        <p:txBody>
          <a:bodyPr anchor="b" anchorCtr="0">
            <a:noAutofit/>
          </a:bodyPr>
          <a:lstStyle>
            <a:lvl1pPr>
              <a:buFontTx/>
              <a:buNone/>
              <a:defRPr sz="1400" baseline="0">
                <a:solidFill>
                  <a:schemeClr val="tx1"/>
                </a:solidFill>
              </a:defRPr>
            </a:lvl1pPr>
          </a:lstStyle>
          <a:p>
            <a:pPr lvl="0"/>
            <a:r>
              <a:rPr lang="en-US"/>
              <a:t>Month Day, Year</a:t>
            </a:r>
          </a:p>
        </p:txBody>
      </p:sp>
      <p:sp>
        <p:nvSpPr>
          <p:cNvPr id="8" name="TextBox 7"/>
          <p:cNvSpPr txBox="1"/>
          <p:nvPr/>
        </p:nvSpPr>
        <p:spPr>
          <a:xfrm>
            <a:off x="2011684" y="6461285"/>
            <a:ext cx="8165593" cy="307777"/>
          </a:xfrm>
          <a:prstGeom prst="rect">
            <a:avLst/>
          </a:prstGeom>
          <a:noFill/>
        </p:spPr>
        <p:txBody>
          <a:bodyPr wrap="square" rtlCol="0">
            <a:spAutoFit/>
          </a:bodyPr>
          <a:lstStyle/>
          <a:p>
            <a:r>
              <a:rPr lang="en-US" sz="700">
                <a:solidFill>
                  <a:schemeClr val="bg2">
                    <a:lumMod val="50000"/>
                  </a:schemeClr>
                </a:solidFill>
              </a:rPr>
              <a:t>This presentation is provided to you by Trinity,</a:t>
            </a:r>
            <a:r>
              <a:rPr lang="en-US" sz="700" baseline="0">
                <a:solidFill>
                  <a:schemeClr val="bg2">
                    <a:lumMod val="50000"/>
                  </a:schemeClr>
                </a:solidFill>
              </a:rPr>
              <a:t> LLC. The presentation is meant to enhance discussions between your organization and Trinity, LLC. The substance of this presentation is confidential and may be legally privileged.  This presentation is intended only for those in attendance.</a:t>
            </a:r>
            <a:endParaRPr lang="en-US" sz="700">
              <a:solidFill>
                <a:schemeClr val="bg2">
                  <a:lumMod val="50000"/>
                </a:schemeClr>
              </a:solidFill>
            </a:endParaRPr>
          </a:p>
        </p:txBody>
      </p:sp>
      <p:sp>
        <p:nvSpPr>
          <p:cNvPr id="17" name="Picture Placeholder 16"/>
          <p:cNvSpPr>
            <a:spLocks noGrp="1"/>
          </p:cNvSpPr>
          <p:nvPr>
            <p:ph type="pic" sz="quarter" idx="14" hasCustomPrompt="1"/>
          </p:nvPr>
        </p:nvSpPr>
        <p:spPr>
          <a:xfrm>
            <a:off x="1993392" y="2511287"/>
            <a:ext cx="5181600" cy="1676400"/>
          </a:xfrm>
        </p:spPr>
        <p:txBody>
          <a:bodyPr anchor="ctr"/>
          <a:lstStyle>
            <a:lvl1pPr marL="3175" indent="0" algn="ctr">
              <a:buNone/>
              <a:defRPr baseline="0"/>
            </a:lvl1pPr>
          </a:lstStyle>
          <a:p>
            <a:r>
              <a:rPr lang="en-US"/>
              <a:t>Placeholder for Client / Trinity Logo</a:t>
            </a:r>
          </a:p>
        </p:txBody>
      </p:sp>
      <p:sp>
        <p:nvSpPr>
          <p:cNvPr id="7" name="Rectangle 6"/>
          <p:cNvSpPr/>
          <p:nvPr userDrawn="1"/>
        </p:nvSpPr>
        <p:spPr>
          <a:xfrm>
            <a:off x="1" y="6620980"/>
            <a:ext cx="404748" cy="237021"/>
          </a:xfrm>
          <a:prstGeom prst="rect">
            <a:avLst/>
          </a:prstGeom>
          <a:solidFill>
            <a:schemeClr val="bg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sz="1800"/>
          </a:p>
        </p:txBody>
      </p:sp>
      <p:sp>
        <p:nvSpPr>
          <p:cNvPr id="10" name="Right Triangle 9">
            <a:extLst>
              <a:ext uri="{FF2B5EF4-FFF2-40B4-BE49-F238E27FC236}">
                <a16:creationId xmlns:a16="http://schemas.microsoft.com/office/drawing/2014/main" id="{3C052C4C-2B0B-B443-AC75-D1D8B338F21F}"/>
              </a:ext>
            </a:extLst>
          </p:cNvPr>
          <p:cNvSpPr/>
          <p:nvPr userDrawn="1"/>
        </p:nvSpPr>
        <p:spPr>
          <a:xfrm rot="5400000">
            <a:off x="-300822" y="300821"/>
            <a:ext cx="4259238" cy="3657604"/>
          </a:xfrm>
          <a:prstGeom prst="rtTriangle">
            <a:avLst/>
          </a:prstGeom>
          <a:gradFill flip="none" rotWithShape="1">
            <a:gsLst>
              <a:gs pos="0">
                <a:srgbClr val="3A4254"/>
              </a:gs>
              <a:gs pos="82000">
                <a:srgbClr val="789ABD">
                  <a:alpha val="75000"/>
                </a:srgbClr>
              </a:gs>
              <a:gs pos="53000">
                <a:srgbClr val="6287B3"/>
              </a:gs>
              <a:gs pos="100000">
                <a:srgbClr val="ABC3D6">
                  <a:alpha val="60000"/>
                </a:srgbClr>
              </a:gs>
            </a:gsLst>
            <a:lin ang="12600000" scaled="0"/>
            <a:tileRect/>
          </a:gra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sz="1800"/>
          </a:p>
        </p:txBody>
      </p:sp>
    </p:spTree>
    <p:extLst>
      <p:ext uri="{BB962C8B-B14F-4D97-AF65-F5344CB8AC3E}">
        <p14:creationId xmlns:p14="http://schemas.microsoft.com/office/powerpoint/2010/main" val="76199082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Agenda Slide">
    <p:spTree>
      <p:nvGrpSpPr>
        <p:cNvPr id="1" name=""/>
        <p:cNvGrpSpPr/>
        <p:nvPr/>
      </p:nvGrpSpPr>
      <p:grpSpPr>
        <a:xfrm>
          <a:off x="0" y="0"/>
          <a:ext cx="0" cy="0"/>
          <a:chOff x="0" y="0"/>
          <a:chExt cx="0" cy="0"/>
        </a:xfrm>
      </p:grpSpPr>
      <p:sp>
        <p:nvSpPr>
          <p:cNvPr id="12" name="Right Triangle 11">
            <a:extLst>
              <a:ext uri="{FF2B5EF4-FFF2-40B4-BE49-F238E27FC236}">
                <a16:creationId xmlns:a16="http://schemas.microsoft.com/office/drawing/2014/main" id="{F74925F4-E2FE-404F-8F2C-10661440AAFC}"/>
              </a:ext>
            </a:extLst>
          </p:cNvPr>
          <p:cNvSpPr/>
          <p:nvPr userDrawn="1"/>
        </p:nvSpPr>
        <p:spPr>
          <a:xfrm rot="16200000">
            <a:off x="7354548" y="2020544"/>
            <a:ext cx="5223296" cy="4451617"/>
          </a:xfrm>
          <a:prstGeom prst="rtTriangle">
            <a:avLst/>
          </a:prstGeom>
          <a:gradFill flip="none" rotWithShape="1">
            <a:gsLst>
              <a:gs pos="100000">
                <a:srgbClr val="7993BA"/>
              </a:gs>
              <a:gs pos="0">
                <a:srgbClr val="8FACCC">
                  <a:alpha val="64706"/>
                </a:srgbClr>
              </a:gs>
            </a:gsLst>
            <a:lin ang="5400000" scaled="0"/>
            <a:tileRect/>
          </a:gra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sz="1800"/>
          </a:p>
        </p:txBody>
      </p:sp>
      <p:sp>
        <p:nvSpPr>
          <p:cNvPr id="6" name="Right Triangle 5"/>
          <p:cNvSpPr/>
          <p:nvPr userDrawn="1"/>
        </p:nvSpPr>
        <p:spPr>
          <a:xfrm flipH="1">
            <a:off x="7251191" y="1634704"/>
            <a:ext cx="4940806" cy="5223296"/>
          </a:xfrm>
          <a:prstGeom prst="rtTriangle">
            <a:avLst/>
          </a:prstGeom>
          <a:gradFill flip="none" rotWithShape="1">
            <a:gsLst>
              <a:gs pos="0">
                <a:schemeClr val="bg1"/>
              </a:gs>
              <a:gs pos="100000">
                <a:schemeClr val="bg1">
                  <a:alpha val="20000"/>
                </a:schemeClr>
              </a:gs>
            </a:gsLst>
            <a:lin ang="10800000" scaled="0"/>
            <a:tileRect/>
          </a:gra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sz="1800"/>
          </a:p>
        </p:txBody>
      </p:sp>
      <p:sp>
        <p:nvSpPr>
          <p:cNvPr id="11" name="Right Triangle 10">
            <a:extLst>
              <a:ext uri="{FF2B5EF4-FFF2-40B4-BE49-F238E27FC236}">
                <a16:creationId xmlns:a16="http://schemas.microsoft.com/office/drawing/2014/main" id="{857CE522-ADB6-E645-8450-7D1EADF70370}"/>
              </a:ext>
            </a:extLst>
          </p:cNvPr>
          <p:cNvSpPr/>
          <p:nvPr userDrawn="1"/>
        </p:nvSpPr>
        <p:spPr>
          <a:xfrm rot="10800000">
            <a:off x="10183654" y="0"/>
            <a:ext cx="2008345" cy="4495803"/>
          </a:xfrm>
          <a:prstGeom prst="rtTriangle">
            <a:avLst/>
          </a:prstGeom>
          <a:gradFill flip="none" rotWithShape="1">
            <a:gsLst>
              <a:gs pos="39000">
                <a:srgbClr val="88ABCC">
                  <a:alpha val="90000"/>
                </a:srgbClr>
              </a:gs>
              <a:gs pos="97000">
                <a:srgbClr val="394F73"/>
              </a:gs>
            </a:gsLst>
            <a:lin ang="9000000" scaled="0"/>
            <a:tileRect/>
          </a:gra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sz="1800"/>
          </a:p>
        </p:txBody>
      </p:sp>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3829277489"/>
              </p:ext>
            </p:extLst>
          </p:nvPr>
        </p:nvGraphicFramePr>
        <p:xfrm>
          <a:off x="2119" y="1591"/>
          <a:ext cx="2116" cy="1587"/>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4" name="Object 3" hidden="1"/>
                      <p:cNvPicPr/>
                      <p:nvPr/>
                    </p:nvPicPr>
                    <p:blipFill>
                      <a:blip r:embed="rId4"/>
                      <a:stretch>
                        <a:fillRect/>
                      </a:stretch>
                    </p:blipFill>
                    <p:spPr>
                      <a:xfrm>
                        <a:off x="2119" y="1591"/>
                        <a:ext cx="2116" cy="1587"/>
                      </a:xfrm>
                      <a:prstGeom prst="rect">
                        <a:avLst/>
                      </a:prstGeom>
                    </p:spPr>
                  </p:pic>
                </p:oleObj>
              </mc:Fallback>
            </mc:AlternateContent>
          </a:graphicData>
        </a:graphic>
      </p:graphicFrame>
      <p:sp>
        <p:nvSpPr>
          <p:cNvPr id="5" name="Text Placeholder 4"/>
          <p:cNvSpPr>
            <a:spLocks noGrp="1"/>
          </p:cNvSpPr>
          <p:nvPr>
            <p:ph type="body" sz="quarter" idx="10"/>
          </p:nvPr>
        </p:nvSpPr>
        <p:spPr>
          <a:xfrm>
            <a:off x="609600" y="1371600"/>
            <a:ext cx="10972800" cy="4953000"/>
          </a:xfrm>
        </p:spPr>
        <p:txBody>
          <a:bodyPr/>
          <a:lstStyle>
            <a:lvl1pPr marL="190500" indent="-187325">
              <a:spcBef>
                <a:spcPts val="1200"/>
              </a:spcBef>
              <a:spcAft>
                <a:spcPts val="1200"/>
              </a:spcAft>
              <a:buClr>
                <a:schemeClr val="bg2">
                  <a:lumMod val="50000"/>
                </a:schemeClr>
              </a:buClr>
              <a:buSzPct val="100000"/>
              <a:buFont typeface="Arial" charset="0"/>
              <a:buChar char="•"/>
              <a:defRPr sz="2000">
                <a:solidFill>
                  <a:schemeClr val="tx1"/>
                </a:solidFill>
              </a:defRPr>
            </a:lvl1pPr>
            <a:lvl2pPr>
              <a:spcBef>
                <a:spcPts val="600"/>
              </a:spcBef>
              <a:spcAft>
                <a:spcPts val="600"/>
              </a:spcAft>
              <a:defRPr sz="1800">
                <a:solidFill>
                  <a:schemeClr val="accent1"/>
                </a:solidFill>
              </a:defRPr>
            </a:lvl2pPr>
            <a:lvl3pPr>
              <a:spcBef>
                <a:spcPts val="600"/>
              </a:spcBef>
              <a:spcAft>
                <a:spcPts val="600"/>
              </a:spcAft>
              <a:defRPr sz="1600">
                <a:solidFill>
                  <a:schemeClr val="bg2">
                    <a:lumMod val="50000"/>
                  </a:schemeClr>
                </a:solidFill>
              </a:defRPr>
            </a:lvl3pPr>
          </a:lstStyle>
          <a:p>
            <a:pPr lvl="0"/>
            <a:r>
              <a:rPr lang="en-US"/>
              <a:t>Click to edit Master text styles</a:t>
            </a:r>
          </a:p>
          <a:p>
            <a:pPr lvl="1"/>
            <a:r>
              <a:rPr lang="en-US"/>
              <a:t>Second level</a:t>
            </a:r>
          </a:p>
          <a:p>
            <a:pPr lvl="2"/>
            <a:r>
              <a:rPr lang="en-US"/>
              <a:t>Third level</a:t>
            </a:r>
          </a:p>
        </p:txBody>
      </p:sp>
      <p:sp>
        <p:nvSpPr>
          <p:cNvPr id="3" name="Slide Number Placeholder 5"/>
          <p:cNvSpPr txBox="1">
            <a:spLocks/>
          </p:cNvSpPr>
          <p:nvPr userDrawn="1"/>
        </p:nvSpPr>
        <p:spPr>
          <a:xfrm>
            <a:off x="11672713" y="6626675"/>
            <a:ext cx="475287" cy="154849"/>
          </a:xfrm>
          <a:prstGeom prst="rect">
            <a:avLst/>
          </a:prstGeom>
        </p:spPr>
        <p:txBody>
          <a:bodyPr anchor="ctr"/>
          <a:lstStyle>
            <a:defPPr>
              <a:defRPr lang="en-US"/>
            </a:defPPr>
            <a:lvl1pPr marL="0" algn="l"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29561F6A-E2B6-43F1-8866-24E01C368EF0}" type="slidenum">
              <a:rPr lang="en-US" sz="900" smtClean="0">
                <a:solidFill>
                  <a:schemeClr val="bg1"/>
                </a:solidFill>
              </a:rPr>
              <a:pPr algn="ctr"/>
              <a:t>‹#›</a:t>
            </a:fld>
            <a:endParaRPr lang="en-US" sz="900">
              <a:solidFill>
                <a:schemeClr val="bg1"/>
              </a:solidFill>
            </a:endParaRPr>
          </a:p>
        </p:txBody>
      </p:sp>
      <p:pic>
        <p:nvPicPr>
          <p:cNvPr id="13" name="Graphic 12">
            <a:extLst>
              <a:ext uri="{FF2B5EF4-FFF2-40B4-BE49-F238E27FC236}">
                <a16:creationId xmlns:a16="http://schemas.microsoft.com/office/drawing/2014/main" id="{2EDE4865-A18F-4B66-B53A-9DE63DD8A8FE}"/>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51496" y="6405894"/>
            <a:ext cx="152400" cy="330200"/>
          </a:xfrm>
          <a:prstGeom prst="rect">
            <a:avLst/>
          </a:prstGeom>
        </p:spPr>
      </p:pic>
      <p:sp>
        <p:nvSpPr>
          <p:cNvPr id="15" name="Text Placeholder 25">
            <a:extLst>
              <a:ext uri="{FF2B5EF4-FFF2-40B4-BE49-F238E27FC236}">
                <a16:creationId xmlns:a16="http://schemas.microsoft.com/office/drawing/2014/main" id="{47E044E3-5C8C-4466-B83E-A87A08E92E30}"/>
              </a:ext>
            </a:extLst>
          </p:cNvPr>
          <p:cNvSpPr>
            <a:spLocks noGrp="1"/>
          </p:cNvSpPr>
          <p:nvPr>
            <p:ph type="body" sz="quarter" idx="12" hasCustomPrompt="1"/>
          </p:nvPr>
        </p:nvSpPr>
        <p:spPr>
          <a:xfrm rot="10800000">
            <a:off x="483951" y="1458962"/>
            <a:ext cx="329184" cy="329184"/>
          </a:xfrm>
          <a:prstGeom prst="rtTriangle">
            <a:avLst/>
          </a:prstGeom>
          <a:gradFill>
            <a:gsLst>
              <a:gs pos="0">
                <a:srgbClr val="7FAFDE"/>
              </a:gs>
              <a:gs pos="80000">
                <a:srgbClr val="3A5580"/>
              </a:gs>
            </a:gsLst>
            <a:lin ang="19800000" scaled="0"/>
          </a:gradFill>
          <a:ln>
            <a:noFill/>
          </a:ln>
        </p:spPr>
        <p:style>
          <a:lnRef idx="0">
            <a:scrgbClr r="0" g="0" b="0"/>
          </a:lnRef>
          <a:fillRef idx="0">
            <a:scrgbClr r="0" g="0" b="0"/>
          </a:fillRef>
          <a:effectRef idx="0">
            <a:scrgbClr r="0" g="0" b="0"/>
          </a:effectRef>
          <a:fontRef idx="minor">
            <a:schemeClr val="lt1"/>
          </a:fontRef>
        </p:style>
        <p:txBody>
          <a:bodyPr vert="horz" lIns="91440" tIns="45720" rIns="91440" bIns="45720" rtlCol="0" anchor="ctr">
            <a:noAutofit/>
          </a:bodyPr>
          <a:lstStyle>
            <a:lvl1pPr algn="l">
              <a:buFontTx/>
              <a:buNone/>
              <a:defRPr lang="en-US" dirty="0" smtClean="0">
                <a:ln>
                  <a:noFill/>
                </a:ln>
                <a:noFill/>
              </a:defRPr>
            </a:lvl1pPr>
            <a:lvl2pPr>
              <a:defRPr lang="en-US" dirty="0" smtClean="0">
                <a:solidFill>
                  <a:schemeClr val="lt1"/>
                </a:solidFill>
              </a:defRPr>
            </a:lvl2pPr>
            <a:lvl3pPr>
              <a:defRPr lang="en-US" dirty="0" smtClean="0">
                <a:solidFill>
                  <a:schemeClr val="lt1"/>
                </a:solidFill>
              </a:defRPr>
            </a:lvl3pPr>
            <a:lvl4pPr>
              <a:defRPr lang="en-US" dirty="0" smtClean="0">
                <a:solidFill>
                  <a:schemeClr val="lt1"/>
                </a:solidFill>
              </a:defRPr>
            </a:lvl4pPr>
            <a:lvl5pPr>
              <a:defRPr lang="en-US" dirty="0">
                <a:solidFill>
                  <a:schemeClr val="lt1"/>
                </a:solidFill>
              </a:defRPr>
            </a:lvl5pPr>
          </a:lstStyle>
          <a:p>
            <a:pPr marL="0" lvl="0" indent="0" algn="ctr">
              <a:buFontTx/>
              <a:buNone/>
            </a:pPr>
            <a:r>
              <a:rPr lang="en-US"/>
              <a:t> </a:t>
            </a:r>
          </a:p>
        </p:txBody>
      </p:sp>
      <p:sp>
        <p:nvSpPr>
          <p:cNvPr id="2" name="Title 1"/>
          <p:cNvSpPr>
            <a:spLocks noGrp="1"/>
          </p:cNvSpPr>
          <p:nvPr>
            <p:ph type="title" hasCustomPrompt="1"/>
          </p:nvPr>
        </p:nvSpPr>
        <p:spPr>
          <a:xfrm>
            <a:off x="609600" y="104415"/>
            <a:ext cx="10972800" cy="906738"/>
          </a:xfrm>
          <a:noFill/>
        </p:spPr>
        <p:txBody>
          <a:bodyPr vert="horz" lIns="91440" tIns="45720" rIns="91440" bIns="45720" rtlCol="0" anchor="ctr">
            <a:noAutofit/>
          </a:bodyPr>
          <a:lstStyle>
            <a:lvl1pPr>
              <a:defRPr lang="en-US" i="0" dirty="0">
                <a:solidFill>
                  <a:schemeClr val="tx1"/>
                </a:solidFill>
              </a:defRPr>
            </a:lvl1pPr>
          </a:lstStyle>
          <a:p>
            <a:pPr lvl="0"/>
            <a:r>
              <a:rPr lang="en-US"/>
              <a:t>Agenda Slide</a:t>
            </a:r>
          </a:p>
        </p:txBody>
      </p:sp>
    </p:spTree>
    <p:extLst>
      <p:ext uri="{BB962C8B-B14F-4D97-AF65-F5344CB8AC3E}">
        <p14:creationId xmlns:p14="http://schemas.microsoft.com/office/powerpoint/2010/main" val="416586692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Blank Slide with Text">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extLst>
              <p:ext uri="{D42A27DB-BD31-4B8C-83A1-F6EECF244321}">
                <p14:modId xmlns:p14="http://schemas.microsoft.com/office/powerpoint/2010/main" val="3788819446"/>
              </p:ext>
            </p:extLst>
          </p:nvPr>
        </p:nvGraphicFramePr>
        <p:xfrm>
          <a:off x="2119" y="1593"/>
          <a:ext cx="2116" cy="1587"/>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6" name="Object 5" hidden="1"/>
                      <p:cNvPicPr/>
                      <p:nvPr/>
                    </p:nvPicPr>
                    <p:blipFill>
                      <a:blip r:embed="rId4"/>
                      <a:stretch>
                        <a:fillRect/>
                      </a:stretch>
                    </p:blipFill>
                    <p:spPr>
                      <a:xfrm>
                        <a:off x="2119" y="1593"/>
                        <a:ext cx="2116" cy="1587"/>
                      </a:xfrm>
                      <a:prstGeom prst="rect">
                        <a:avLst/>
                      </a:prstGeom>
                    </p:spPr>
                  </p:pic>
                </p:oleObj>
              </mc:Fallback>
            </mc:AlternateContent>
          </a:graphicData>
        </a:graphic>
      </p:graphicFrame>
      <p:sp>
        <p:nvSpPr>
          <p:cNvPr id="2" name="Title 1"/>
          <p:cNvSpPr>
            <a:spLocks noGrp="1"/>
          </p:cNvSpPr>
          <p:nvPr>
            <p:ph type="title" hasCustomPrompt="1"/>
          </p:nvPr>
        </p:nvSpPr>
        <p:spPr/>
        <p:txBody>
          <a:bodyPr vert="horz" anchor="ctr"/>
          <a:lstStyle>
            <a:lvl1pPr>
              <a:defRPr b="0" i="0" baseline="0">
                <a:solidFill>
                  <a:schemeClr val="tx1"/>
                </a:solidFill>
              </a:defRPr>
            </a:lvl1pPr>
          </a:lstStyle>
          <a:p>
            <a:r>
              <a:rPr lang="en-US"/>
              <a:t>Title Line 1</a:t>
            </a:r>
            <a:br>
              <a:rPr lang="en-US"/>
            </a:br>
            <a:r>
              <a:rPr lang="en-US"/>
              <a:t>Title Line Continued</a:t>
            </a:r>
          </a:p>
        </p:txBody>
      </p:sp>
      <p:sp>
        <p:nvSpPr>
          <p:cNvPr id="5" name="Slide Number Placeholder 5"/>
          <p:cNvSpPr txBox="1">
            <a:spLocks/>
          </p:cNvSpPr>
          <p:nvPr userDrawn="1"/>
        </p:nvSpPr>
        <p:spPr>
          <a:xfrm>
            <a:off x="11672714" y="6626677"/>
            <a:ext cx="475287" cy="154849"/>
          </a:xfrm>
          <a:prstGeom prst="rect">
            <a:avLst/>
          </a:prstGeom>
        </p:spPr>
        <p:txBody>
          <a:bodyPr anchor="ctr"/>
          <a:lstStyle>
            <a:defPPr>
              <a:defRPr lang="en-US"/>
            </a:defPPr>
            <a:lvl1pPr marL="0" algn="l"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29561F6A-E2B6-43F1-8866-24E01C368EF0}" type="slidenum">
              <a:rPr lang="en-US" sz="900" smtClean="0">
                <a:solidFill>
                  <a:schemeClr val="accent1"/>
                </a:solidFill>
              </a:rPr>
              <a:pPr algn="ctr"/>
              <a:t>‹#›</a:t>
            </a:fld>
            <a:endParaRPr lang="en-US" sz="900">
              <a:solidFill>
                <a:schemeClr val="accent1"/>
              </a:solidFill>
            </a:endParaRPr>
          </a:p>
        </p:txBody>
      </p:sp>
      <p:sp>
        <p:nvSpPr>
          <p:cNvPr id="12" name="Text Placeholder 11"/>
          <p:cNvSpPr>
            <a:spLocks noGrp="1"/>
          </p:cNvSpPr>
          <p:nvPr>
            <p:ph type="body" sz="quarter" idx="14" hasCustomPrompt="1"/>
          </p:nvPr>
        </p:nvSpPr>
        <p:spPr>
          <a:xfrm>
            <a:off x="609600" y="6556376"/>
            <a:ext cx="10972800" cy="301625"/>
          </a:xfrm>
        </p:spPr>
        <p:txBody>
          <a:bodyPr anchor="ctr"/>
          <a:lstStyle>
            <a:lvl1pPr marL="3175" marR="0" indent="0" algn="l" defTabSz="914400" rtl="0" eaLnBrk="1" fontAlgn="auto" latinLnBrk="0" hangingPunct="1">
              <a:lnSpc>
                <a:spcPct val="100000"/>
              </a:lnSpc>
              <a:spcBef>
                <a:spcPts val="0"/>
              </a:spcBef>
              <a:spcAft>
                <a:spcPts val="0"/>
              </a:spcAft>
              <a:buClr>
                <a:schemeClr val="tx1">
                  <a:lumMod val="75000"/>
                  <a:lumOff val="25000"/>
                </a:schemeClr>
              </a:buClr>
              <a:buSzTx/>
              <a:buFont typeface="Arial" panose="020B0604020202020204" pitchFamily="34" charset="0"/>
              <a:buNone/>
              <a:tabLst/>
              <a:defRPr sz="900" b="0">
                <a:solidFill>
                  <a:schemeClr val="bg1">
                    <a:lumMod val="50000"/>
                  </a:schemeClr>
                </a:solidFill>
              </a:defRPr>
            </a:lvl1pPr>
            <a:lvl2pPr>
              <a:spcBef>
                <a:spcPts val="0"/>
              </a:spcBef>
              <a:defRPr/>
            </a:lvl2pPr>
            <a:lvl3pPr>
              <a:spcBef>
                <a:spcPts val="0"/>
              </a:spcBef>
              <a:defRPr/>
            </a:lvl3pPr>
            <a:lvl4pPr>
              <a:spcBef>
                <a:spcPts val="0"/>
              </a:spcBef>
              <a:defRPr/>
            </a:lvl4pPr>
            <a:lvl5pPr>
              <a:spcBef>
                <a:spcPts val="0"/>
              </a:spcBef>
              <a:defRPr/>
            </a:lvl5pPr>
          </a:lstStyle>
          <a:p>
            <a:pPr marL="3175" marR="0" lvl="0" indent="0" algn="l" defTabSz="914400" rtl="0" eaLnBrk="1" fontAlgn="auto" latinLnBrk="0" hangingPunct="1">
              <a:lnSpc>
                <a:spcPct val="100000"/>
              </a:lnSpc>
              <a:spcBef>
                <a:spcPts val="0"/>
              </a:spcBef>
              <a:spcAft>
                <a:spcPts val="0"/>
              </a:spcAft>
              <a:buClr>
                <a:schemeClr val="tx1">
                  <a:lumMod val="75000"/>
                  <a:lumOff val="25000"/>
                </a:schemeClr>
              </a:buClr>
              <a:buSzTx/>
              <a:buFont typeface="Arial" panose="020B0604020202020204" pitchFamily="34" charset="0"/>
              <a:buNone/>
              <a:tabLst/>
              <a:defRPr/>
            </a:pPr>
            <a:r>
              <a:rPr lang="en-US"/>
              <a:t>Sources/Notes section in 9 point </a:t>
            </a:r>
            <a:r>
              <a:rPr lang="en-US" b="1"/>
              <a:t>White, Darker 50%</a:t>
            </a:r>
          </a:p>
        </p:txBody>
      </p:sp>
      <p:sp>
        <p:nvSpPr>
          <p:cNvPr id="14" name="Text Placeholder 13"/>
          <p:cNvSpPr>
            <a:spLocks noGrp="1"/>
          </p:cNvSpPr>
          <p:nvPr>
            <p:ph type="body" sz="quarter" idx="15"/>
          </p:nvPr>
        </p:nvSpPr>
        <p:spPr>
          <a:xfrm>
            <a:off x="609600" y="1276709"/>
            <a:ext cx="10972800" cy="5098692"/>
          </a:xfrm>
        </p:spPr>
        <p:txBody>
          <a:bodyPr/>
          <a:lstStyle>
            <a:lvl1pPr>
              <a:defRPr>
                <a:solidFill>
                  <a:schemeClr val="tx1"/>
                </a:solidFill>
              </a:defRPr>
            </a:lvl1pPr>
            <a:lvl2pPr>
              <a:defRPr>
                <a:solidFill>
                  <a:schemeClr val="accent1"/>
                </a:solidFill>
              </a:defRPr>
            </a:lvl2pPr>
            <a:lvl3pPr>
              <a:defRPr>
                <a:solidFill>
                  <a:schemeClr val="bg2">
                    <a:lumMod val="50000"/>
                  </a:schemeClr>
                </a:solidFill>
              </a:defRPr>
            </a:lvl3pPr>
            <a:lvl4pPr>
              <a:defRPr>
                <a:solidFill>
                  <a:schemeClr val="bg2">
                    <a:lumMod val="50000"/>
                  </a:schemeClr>
                </a:solidFill>
              </a:defRPr>
            </a:lvl4pPr>
            <a:lvl5pPr>
              <a:defRPr>
                <a:solidFill>
                  <a:schemeClr val="bg2">
                    <a:lumMod val="50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Isosceles Triangle 7"/>
          <p:cNvSpPr/>
          <p:nvPr userDrawn="1"/>
        </p:nvSpPr>
        <p:spPr>
          <a:xfrm rot="5400000">
            <a:off x="-526920" y="526918"/>
            <a:ext cx="1203355" cy="149527"/>
          </a:xfrm>
          <a:prstGeom prst="triangle">
            <a:avLst>
              <a:gd name="adj" fmla="val 84814"/>
            </a:avLst>
          </a:prstGeom>
          <a:gradFill flip="none" rotWithShape="1">
            <a:gsLst>
              <a:gs pos="0">
                <a:schemeClr val="accent3">
                  <a:lumMod val="75000"/>
                </a:schemeClr>
              </a:gs>
              <a:gs pos="21000">
                <a:srgbClr val="4F74A0"/>
              </a:gs>
              <a:gs pos="100000">
                <a:srgbClr val="A0C1D6"/>
              </a:gs>
            </a:gsLst>
            <a:lin ang="12000000" scaled="0"/>
            <a:tileRect/>
          </a:gra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sz="1800"/>
          </a:p>
        </p:txBody>
      </p:sp>
      <p:pic>
        <p:nvPicPr>
          <p:cNvPr id="9" name="Graphic 8">
            <a:extLst>
              <a:ext uri="{FF2B5EF4-FFF2-40B4-BE49-F238E27FC236}">
                <a16:creationId xmlns:a16="http://schemas.microsoft.com/office/drawing/2014/main" id="{36B9E241-CFFF-466B-8BCC-C37A427FEE92}"/>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51496" y="6405894"/>
            <a:ext cx="152400" cy="330200"/>
          </a:xfrm>
          <a:prstGeom prst="rect">
            <a:avLst/>
          </a:prstGeom>
        </p:spPr>
      </p:pic>
    </p:spTree>
    <p:extLst>
      <p:ext uri="{BB962C8B-B14F-4D97-AF65-F5344CB8AC3E}">
        <p14:creationId xmlns:p14="http://schemas.microsoft.com/office/powerpoint/2010/main" val="1946898449"/>
      </p:ext>
    </p:extLst>
  </p:cSld>
  <p:clrMapOvr>
    <a:masterClrMapping/>
  </p:clrMapOvr>
  <p:hf hdr="0" dt="0"/>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Only">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extLst>
              <p:ext uri="{D42A27DB-BD31-4B8C-83A1-F6EECF244321}">
                <p14:modId xmlns:p14="http://schemas.microsoft.com/office/powerpoint/2010/main" val="2572258052"/>
              </p:ext>
            </p:extLst>
          </p:nvPr>
        </p:nvGraphicFramePr>
        <p:xfrm>
          <a:off x="2119" y="1593"/>
          <a:ext cx="2116" cy="1587"/>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6" name="Object 5" hidden="1"/>
                      <p:cNvPicPr/>
                      <p:nvPr/>
                    </p:nvPicPr>
                    <p:blipFill>
                      <a:blip r:embed="rId4"/>
                      <a:stretch>
                        <a:fillRect/>
                      </a:stretch>
                    </p:blipFill>
                    <p:spPr>
                      <a:xfrm>
                        <a:off x="2119" y="1593"/>
                        <a:ext cx="2116" cy="1587"/>
                      </a:xfrm>
                      <a:prstGeom prst="rect">
                        <a:avLst/>
                      </a:prstGeom>
                    </p:spPr>
                  </p:pic>
                </p:oleObj>
              </mc:Fallback>
            </mc:AlternateContent>
          </a:graphicData>
        </a:graphic>
      </p:graphicFrame>
      <p:sp>
        <p:nvSpPr>
          <p:cNvPr id="2" name="Title 1"/>
          <p:cNvSpPr>
            <a:spLocks noGrp="1"/>
          </p:cNvSpPr>
          <p:nvPr>
            <p:ph type="title" hasCustomPrompt="1"/>
          </p:nvPr>
        </p:nvSpPr>
        <p:spPr/>
        <p:txBody>
          <a:bodyPr vert="horz" anchor="ctr"/>
          <a:lstStyle>
            <a:lvl1pPr>
              <a:defRPr b="0" i="0" baseline="0">
                <a:solidFill>
                  <a:schemeClr val="tx1"/>
                </a:solidFill>
              </a:defRPr>
            </a:lvl1pPr>
          </a:lstStyle>
          <a:p>
            <a:r>
              <a:rPr lang="en-US"/>
              <a:t>Title Line 1</a:t>
            </a:r>
            <a:br>
              <a:rPr lang="en-US"/>
            </a:br>
            <a:r>
              <a:rPr lang="en-US"/>
              <a:t>Title Line Continued</a:t>
            </a:r>
          </a:p>
        </p:txBody>
      </p:sp>
      <p:sp>
        <p:nvSpPr>
          <p:cNvPr id="5" name="Slide Number Placeholder 5"/>
          <p:cNvSpPr txBox="1">
            <a:spLocks/>
          </p:cNvSpPr>
          <p:nvPr userDrawn="1"/>
        </p:nvSpPr>
        <p:spPr>
          <a:xfrm>
            <a:off x="11672714" y="6626677"/>
            <a:ext cx="475287" cy="154849"/>
          </a:xfrm>
          <a:prstGeom prst="rect">
            <a:avLst/>
          </a:prstGeom>
        </p:spPr>
        <p:txBody>
          <a:bodyPr anchor="ctr"/>
          <a:lstStyle>
            <a:defPPr>
              <a:defRPr lang="en-US"/>
            </a:defPPr>
            <a:lvl1pPr marL="0" algn="l"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29561F6A-E2B6-43F1-8866-24E01C368EF0}" type="slidenum">
              <a:rPr lang="en-US" sz="900" smtClean="0">
                <a:solidFill>
                  <a:schemeClr val="accent1"/>
                </a:solidFill>
              </a:rPr>
              <a:pPr algn="ctr"/>
              <a:t>‹#›</a:t>
            </a:fld>
            <a:endParaRPr lang="en-US" sz="900">
              <a:solidFill>
                <a:schemeClr val="accent1"/>
              </a:solidFill>
            </a:endParaRPr>
          </a:p>
        </p:txBody>
      </p:sp>
      <p:sp>
        <p:nvSpPr>
          <p:cNvPr id="12" name="Text Placeholder 11"/>
          <p:cNvSpPr>
            <a:spLocks noGrp="1"/>
          </p:cNvSpPr>
          <p:nvPr>
            <p:ph type="body" sz="quarter" idx="14" hasCustomPrompt="1"/>
          </p:nvPr>
        </p:nvSpPr>
        <p:spPr>
          <a:xfrm>
            <a:off x="609600" y="6556376"/>
            <a:ext cx="10972800" cy="301625"/>
          </a:xfrm>
        </p:spPr>
        <p:txBody>
          <a:bodyPr anchor="ctr"/>
          <a:lstStyle>
            <a:lvl1pPr marL="3175" marR="0" indent="0" algn="l" defTabSz="914400" rtl="0" eaLnBrk="1" fontAlgn="auto" latinLnBrk="0" hangingPunct="1">
              <a:lnSpc>
                <a:spcPct val="100000"/>
              </a:lnSpc>
              <a:spcBef>
                <a:spcPts val="0"/>
              </a:spcBef>
              <a:spcAft>
                <a:spcPts val="0"/>
              </a:spcAft>
              <a:buClr>
                <a:schemeClr val="tx1">
                  <a:lumMod val="75000"/>
                  <a:lumOff val="25000"/>
                </a:schemeClr>
              </a:buClr>
              <a:buSzTx/>
              <a:buFont typeface="Arial" panose="020B0604020202020204" pitchFamily="34" charset="0"/>
              <a:buNone/>
              <a:tabLst/>
              <a:defRPr sz="900" b="0">
                <a:solidFill>
                  <a:schemeClr val="bg1">
                    <a:lumMod val="50000"/>
                  </a:schemeClr>
                </a:solidFill>
              </a:defRPr>
            </a:lvl1pPr>
            <a:lvl2pPr>
              <a:spcBef>
                <a:spcPts val="0"/>
              </a:spcBef>
              <a:defRPr/>
            </a:lvl2pPr>
            <a:lvl3pPr>
              <a:spcBef>
                <a:spcPts val="0"/>
              </a:spcBef>
              <a:defRPr/>
            </a:lvl3pPr>
            <a:lvl4pPr>
              <a:spcBef>
                <a:spcPts val="0"/>
              </a:spcBef>
              <a:defRPr/>
            </a:lvl4pPr>
            <a:lvl5pPr>
              <a:spcBef>
                <a:spcPts val="0"/>
              </a:spcBef>
              <a:defRPr/>
            </a:lvl5pPr>
          </a:lstStyle>
          <a:p>
            <a:pPr marL="3175" marR="0" lvl="0" indent="0" algn="l" defTabSz="914400" rtl="0" eaLnBrk="1" fontAlgn="auto" latinLnBrk="0" hangingPunct="1">
              <a:lnSpc>
                <a:spcPct val="100000"/>
              </a:lnSpc>
              <a:spcBef>
                <a:spcPts val="0"/>
              </a:spcBef>
              <a:spcAft>
                <a:spcPts val="0"/>
              </a:spcAft>
              <a:buClr>
                <a:schemeClr val="tx1">
                  <a:lumMod val="75000"/>
                  <a:lumOff val="25000"/>
                </a:schemeClr>
              </a:buClr>
              <a:buSzTx/>
              <a:buFont typeface="Arial" panose="020B0604020202020204" pitchFamily="34" charset="0"/>
              <a:buNone/>
              <a:tabLst/>
              <a:defRPr/>
            </a:pPr>
            <a:r>
              <a:rPr lang="en-US"/>
              <a:t>Sources/Notes section in 9 point </a:t>
            </a:r>
            <a:r>
              <a:rPr lang="en-US" b="1"/>
              <a:t>White, Darker 50%</a:t>
            </a:r>
          </a:p>
        </p:txBody>
      </p:sp>
      <p:sp>
        <p:nvSpPr>
          <p:cNvPr id="11" name="Isosceles Triangle 7"/>
          <p:cNvSpPr/>
          <p:nvPr userDrawn="1"/>
        </p:nvSpPr>
        <p:spPr>
          <a:xfrm rot="5400000">
            <a:off x="-526920" y="526918"/>
            <a:ext cx="1203355" cy="149527"/>
          </a:xfrm>
          <a:prstGeom prst="triangle">
            <a:avLst>
              <a:gd name="adj" fmla="val 84814"/>
            </a:avLst>
          </a:prstGeom>
          <a:gradFill flip="none" rotWithShape="1">
            <a:gsLst>
              <a:gs pos="0">
                <a:schemeClr val="accent3">
                  <a:lumMod val="75000"/>
                </a:schemeClr>
              </a:gs>
              <a:gs pos="21000">
                <a:srgbClr val="4F74A0"/>
              </a:gs>
              <a:gs pos="100000">
                <a:srgbClr val="A0C1D6"/>
              </a:gs>
            </a:gsLst>
            <a:lin ang="12000000" scaled="0"/>
            <a:tileRect/>
          </a:gra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sz="1800"/>
          </a:p>
        </p:txBody>
      </p:sp>
      <p:pic>
        <p:nvPicPr>
          <p:cNvPr id="9" name="Graphic 8">
            <a:extLst>
              <a:ext uri="{FF2B5EF4-FFF2-40B4-BE49-F238E27FC236}">
                <a16:creationId xmlns:a16="http://schemas.microsoft.com/office/drawing/2014/main" id="{36B9E241-CFFF-466B-8BCC-C37A427FEE92}"/>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51496" y="6405894"/>
            <a:ext cx="152400" cy="330200"/>
          </a:xfrm>
          <a:prstGeom prst="rect">
            <a:avLst/>
          </a:prstGeom>
        </p:spPr>
      </p:pic>
    </p:spTree>
    <p:extLst>
      <p:ext uri="{BB962C8B-B14F-4D97-AF65-F5344CB8AC3E}">
        <p14:creationId xmlns:p14="http://schemas.microsoft.com/office/powerpoint/2010/main" val="1632685742"/>
      </p:ext>
    </p:extLst>
  </p:cSld>
  <p:clrMapOvr>
    <a:masterClrMapping/>
  </p:clrMapOvr>
  <p:hf hdr="0" dt="0"/>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Content &amp; Tex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130625856"/>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3" name="Object 2"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5" name="Content Placeholder 4"/>
          <p:cNvSpPr>
            <a:spLocks noGrp="1"/>
          </p:cNvSpPr>
          <p:nvPr>
            <p:ph sz="quarter" idx="15" hasCustomPrompt="1"/>
          </p:nvPr>
        </p:nvSpPr>
        <p:spPr>
          <a:xfrm>
            <a:off x="609600" y="1295400"/>
            <a:ext cx="10972800" cy="3657600"/>
          </a:xfrm>
        </p:spPr>
        <p:txBody>
          <a:bodyPr/>
          <a:lstStyle>
            <a:lvl1pPr>
              <a:defRPr>
                <a:solidFill>
                  <a:schemeClr val="tx1"/>
                </a:solidFill>
              </a:defRPr>
            </a:lvl1pPr>
            <a:lvl2pPr>
              <a:defRPr>
                <a:solidFill>
                  <a:schemeClr val="accent1"/>
                </a:solidFill>
              </a:defRPr>
            </a:lvl2pPr>
            <a:lvl3pPr>
              <a:defRPr>
                <a:solidFill>
                  <a:schemeClr val="bg2">
                    <a:lumMod val="50000"/>
                  </a:schemeClr>
                </a:solidFill>
              </a:defRPr>
            </a:lvl3pPr>
            <a:lvl4pPr>
              <a:defRPr>
                <a:solidFill>
                  <a:schemeClr val="bg2">
                    <a:lumMod val="50000"/>
                  </a:schemeClr>
                </a:solidFill>
              </a:defRPr>
            </a:lvl4pPr>
            <a:lvl5pPr>
              <a:defRPr>
                <a:solidFill>
                  <a:schemeClr val="bg2">
                    <a:lumMod val="50000"/>
                  </a:schemeClr>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hasCustomPrompt="1"/>
          </p:nvPr>
        </p:nvSpPr>
        <p:spPr/>
        <p:txBody>
          <a:bodyPr vert="horz" anchor="ctr"/>
          <a:lstStyle>
            <a:lvl1pPr>
              <a:defRPr b="0" baseline="0">
                <a:solidFill>
                  <a:schemeClr val="tx1"/>
                </a:solidFill>
              </a:defRPr>
            </a:lvl1pPr>
          </a:lstStyle>
          <a:p>
            <a:r>
              <a:rPr lang="en-US"/>
              <a:t>Chart Title Line 1</a:t>
            </a:r>
            <a:br>
              <a:rPr lang="en-US"/>
            </a:br>
            <a:r>
              <a:rPr lang="en-US"/>
              <a:t>Chart Title Line Continued</a:t>
            </a:r>
          </a:p>
        </p:txBody>
      </p:sp>
      <p:sp>
        <p:nvSpPr>
          <p:cNvPr id="13" name="Slide Number Placeholder 5"/>
          <p:cNvSpPr txBox="1">
            <a:spLocks/>
          </p:cNvSpPr>
          <p:nvPr userDrawn="1"/>
        </p:nvSpPr>
        <p:spPr>
          <a:xfrm>
            <a:off x="11672714" y="6626677"/>
            <a:ext cx="475287" cy="154849"/>
          </a:xfrm>
          <a:prstGeom prst="rect">
            <a:avLst/>
          </a:prstGeom>
        </p:spPr>
        <p:txBody>
          <a:bodyPr anchor="ctr"/>
          <a:lstStyle>
            <a:defPPr>
              <a:defRPr lang="en-US"/>
            </a:defPPr>
            <a:lvl1pPr marL="0" algn="l"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29561F6A-E2B6-43F1-8866-24E01C368EF0}" type="slidenum">
              <a:rPr lang="en-US" sz="900" smtClean="0">
                <a:solidFill>
                  <a:schemeClr val="accent1"/>
                </a:solidFill>
              </a:rPr>
              <a:pPr algn="ctr"/>
              <a:t>‹#›</a:t>
            </a:fld>
            <a:endParaRPr lang="en-US" sz="900">
              <a:solidFill>
                <a:schemeClr val="accent1"/>
              </a:solidFill>
            </a:endParaRPr>
          </a:p>
        </p:txBody>
      </p:sp>
      <p:sp>
        <p:nvSpPr>
          <p:cNvPr id="4" name="Content Placeholder 3"/>
          <p:cNvSpPr>
            <a:spLocks noGrp="1"/>
          </p:cNvSpPr>
          <p:nvPr>
            <p:ph sz="quarter" idx="16"/>
          </p:nvPr>
        </p:nvSpPr>
        <p:spPr>
          <a:xfrm>
            <a:off x="609600" y="4953000"/>
            <a:ext cx="10972800" cy="1524000"/>
          </a:xfrm>
        </p:spPr>
        <p:txBody>
          <a:bodyPr/>
          <a:lstStyle>
            <a:lvl1pPr>
              <a:defRPr>
                <a:solidFill>
                  <a:schemeClr val="tx1"/>
                </a:solidFill>
              </a:defRPr>
            </a:lvl1pPr>
            <a:lvl2pPr>
              <a:defRPr>
                <a:solidFill>
                  <a:schemeClr val="accent1"/>
                </a:solidFill>
              </a:defRPr>
            </a:lvl2pPr>
            <a:lvl3pPr>
              <a:defRPr>
                <a:solidFill>
                  <a:schemeClr val="bg2">
                    <a:lumMod val="50000"/>
                  </a:schemeClr>
                </a:solidFill>
              </a:defRPr>
            </a:lvl3pPr>
            <a:lvl4pPr>
              <a:defRPr>
                <a:solidFill>
                  <a:schemeClr val="bg2">
                    <a:lumMod val="50000"/>
                  </a:schemeClr>
                </a:solidFill>
              </a:defRPr>
            </a:lvl4pPr>
            <a:lvl5pPr>
              <a:defRPr>
                <a:solidFill>
                  <a:schemeClr val="bg2">
                    <a:lumMod val="50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11"/>
          <p:cNvSpPr>
            <a:spLocks noGrp="1"/>
          </p:cNvSpPr>
          <p:nvPr>
            <p:ph type="body" sz="quarter" idx="14" hasCustomPrompt="1"/>
          </p:nvPr>
        </p:nvSpPr>
        <p:spPr>
          <a:xfrm>
            <a:off x="609600" y="6556376"/>
            <a:ext cx="10972800" cy="301625"/>
          </a:xfrm>
        </p:spPr>
        <p:txBody>
          <a:bodyPr anchor="ctr"/>
          <a:lstStyle>
            <a:lvl1pPr marL="3175" marR="0" indent="0" algn="l" defTabSz="914400" rtl="0" eaLnBrk="1" fontAlgn="auto" latinLnBrk="0" hangingPunct="1">
              <a:lnSpc>
                <a:spcPct val="100000"/>
              </a:lnSpc>
              <a:spcBef>
                <a:spcPts val="0"/>
              </a:spcBef>
              <a:spcAft>
                <a:spcPts val="0"/>
              </a:spcAft>
              <a:buClr>
                <a:schemeClr val="tx1">
                  <a:lumMod val="75000"/>
                  <a:lumOff val="25000"/>
                </a:schemeClr>
              </a:buClr>
              <a:buSzTx/>
              <a:buFont typeface="Arial" panose="020B0604020202020204" pitchFamily="34" charset="0"/>
              <a:buNone/>
              <a:tabLst/>
              <a:defRPr sz="900" b="0">
                <a:solidFill>
                  <a:schemeClr val="bg2">
                    <a:lumMod val="50000"/>
                  </a:schemeClr>
                </a:solidFill>
              </a:defRPr>
            </a:lvl1pPr>
            <a:lvl2pPr>
              <a:spcBef>
                <a:spcPts val="0"/>
              </a:spcBef>
              <a:defRPr/>
            </a:lvl2pPr>
            <a:lvl3pPr>
              <a:spcBef>
                <a:spcPts val="0"/>
              </a:spcBef>
              <a:defRPr/>
            </a:lvl3pPr>
            <a:lvl4pPr>
              <a:spcBef>
                <a:spcPts val="0"/>
              </a:spcBef>
              <a:defRPr/>
            </a:lvl4pPr>
            <a:lvl5pPr>
              <a:spcBef>
                <a:spcPts val="0"/>
              </a:spcBef>
              <a:defRPr/>
            </a:lvl5pPr>
          </a:lstStyle>
          <a:p>
            <a:pPr marL="3175" marR="0" lvl="0" indent="0" algn="l" defTabSz="914400" rtl="0" eaLnBrk="1" fontAlgn="auto" latinLnBrk="0" hangingPunct="1">
              <a:lnSpc>
                <a:spcPct val="100000"/>
              </a:lnSpc>
              <a:spcBef>
                <a:spcPts val="0"/>
              </a:spcBef>
              <a:spcAft>
                <a:spcPts val="0"/>
              </a:spcAft>
              <a:buClr>
                <a:schemeClr val="tx1">
                  <a:lumMod val="75000"/>
                  <a:lumOff val="25000"/>
                </a:schemeClr>
              </a:buClr>
              <a:buSzTx/>
              <a:buFont typeface="Arial" panose="020B0604020202020204" pitchFamily="34" charset="0"/>
              <a:buNone/>
              <a:tabLst/>
              <a:defRPr/>
            </a:pPr>
            <a:r>
              <a:rPr lang="en-US"/>
              <a:t>Sources/Notes section in 9 point </a:t>
            </a:r>
            <a:r>
              <a:rPr lang="en-US" b="1"/>
              <a:t>White, Darker 50%</a:t>
            </a:r>
          </a:p>
        </p:txBody>
      </p:sp>
      <p:sp>
        <p:nvSpPr>
          <p:cNvPr id="12" name="Isosceles Triangle 7"/>
          <p:cNvSpPr/>
          <p:nvPr userDrawn="1"/>
        </p:nvSpPr>
        <p:spPr>
          <a:xfrm rot="5400000">
            <a:off x="-526920" y="526918"/>
            <a:ext cx="1203355" cy="149527"/>
          </a:xfrm>
          <a:prstGeom prst="triangle">
            <a:avLst>
              <a:gd name="adj" fmla="val 84814"/>
            </a:avLst>
          </a:prstGeom>
          <a:gradFill flip="none" rotWithShape="1">
            <a:gsLst>
              <a:gs pos="0">
                <a:schemeClr val="accent3">
                  <a:lumMod val="75000"/>
                </a:schemeClr>
              </a:gs>
              <a:gs pos="21000">
                <a:srgbClr val="4F74A0"/>
              </a:gs>
              <a:gs pos="100000">
                <a:srgbClr val="A0C1D6"/>
              </a:gs>
            </a:gsLst>
            <a:lin ang="12000000" scaled="0"/>
            <a:tileRect/>
          </a:gra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sz="1800"/>
          </a:p>
        </p:txBody>
      </p:sp>
      <p:pic>
        <p:nvPicPr>
          <p:cNvPr id="11" name="Graphic 10">
            <a:extLst>
              <a:ext uri="{FF2B5EF4-FFF2-40B4-BE49-F238E27FC236}">
                <a16:creationId xmlns:a16="http://schemas.microsoft.com/office/drawing/2014/main" id="{96F4AB1D-9480-49B7-B3FE-27C8B6D5CF49}"/>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51496" y="6405894"/>
            <a:ext cx="152400" cy="330200"/>
          </a:xfrm>
          <a:prstGeom prst="rect">
            <a:avLst/>
          </a:prstGeom>
        </p:spPr>
      </p:pic>
    </p:spTree>
    <p:extLst>
      <p:ext uri="{BB962C8B-B14F-4D97-AF65-F5344CB8AC3E}">
        <p14:creationId xmlns:p14="http://schemas.microsoft.com/office/powerpoint/2010/main" val="124589267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Two Content &amp; Tex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735857314"/>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3" name="Object 2"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2" name="Title 1"/>
          <p:cNvSpPr>
            <a:spLocks noGrp="1"/>
          </p:cNvSpPr>
          <p:nvPr>
            <p:ph type="title" hasCustomPrompt="1"/>
          </p:nvPr>
        </p:nvSpPr>
        <p:spPr/>
        <p:txBody>
          <a:bodyPr vert="horz" anchor="ctr"/>
          <a:lstStyle>
            <a:lvl1pPr>
              <a:defRPr b="0" baseline="0">
                <a:solidFill>
                  <a:schemeClr val="tx1"/>
                </a:solidFill>
              </a:defRPr>
            </a:lvl1pPr>
          </a:lstStyle>
          <a:p>
            <a:r>
              <a:rPr lang="en-US"/>
              <a:t>Content Title Line 1</a:t>
            </a:r>
            <a:br>
              <a:rPr lang="en-US"/>
            </a:br>
            <a:r>
              <a:rPr lang="en-US"/>
              <a:t>Content Title Line Continued</a:t>
            </a:r>
          </a:p>
        </p:txBody>
      </p:sp>
      <p:sp>
        <p:nvSpPr>
          <p:cNvPr id="12" name="Content Placeholder 11"/>
          <p:cNvSpPr>
            <a:spLocks noGrp="1"/>
          </p:cNvSpPr>
          <p:nvPr>
            <p:ph sz="quarter" idx="12"/>
          </p:nvPr>
        </p:nvSpPr>
        <p:spPr>
          <a:xfrm>
            <a:off x="609600" y="1285337"/>
            <a:ext cx="5485291" cy="3452004"/>
          </a:xfrm>
        </p:spPr>
        <p:txBody>
          <a:bodyPr/>
          <a:lstStyle>
            <a:lvl1pPr>
              <a:defRPr>
                <a:solidFill>
                  <a:schemeClr val="tx1"/>
                </a:solidFill>
              </a:defRPr>
            </a:lvl1pPr>
            <a:lvl2pPr>
              <a:defRPr>
                <a:solidFill>
                  <a:schemeClr val="accent1"/>
                </a:solidFill>
              </a:defRPr>
            </a:lvl2pPr>
            <a:lvl3pPr>
              <a:defRPr>
                <a:solidFill>
                  <a:schemeClr val="bg2">
                    <a:lumMod val="50000"/>
                  </a:schemeClr>
                </a:solidFill>
              </a:defRPr>
            </a:lvl3pPr>
            <a:lvl4pPr>
              <a:defRPr>
                <a:solidFill>
                  <a:schemeClr val="bg2">
                    <a:lumMod val="50000"/>
                  </a:schemeClr>
                </a:solidFill>
              </a:defRPr>
            </a:lvl4pPr>
            <a:lvl5pPr>
              <a:defRPr>
                <a:solidFill>
                  <a:schemeClr val="bg2">
                    <a:lumMod val="50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5"/>
          <p:cNvSpPr txBox="1">
            <a:spLocks/>
          </p:cNvSpPr>
          <p:nvPr userDrawn="1"/>
        </p:nvSpPr>
        <p:spPr>
          <a:xfrm>
            <a:off x="11672714" y="6626677"/>
            <a:ext cx="475287" cy="154849"/>
          </a:xfrm>
          <a:prstGeom prst="rect">
            <a:avLst/>
          </a:prstGeom>
        </p:spPr>
        <p:txBody>
          <a:bodyPr anchor="ctr"/>
          <a:lstStyle>
            <a:defPPr>
              <a:defRPr lang="en-US"/>
            </a:defPPr>
            <a:lvl1pPr marL="0" algn="l"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29561F6A-E2B6-43F1-8866-24E01C368EF0}" type="slidenum">
              <a:rPr lang="en-US" sz="900" smtClean="0">
                <a:solidFill>
                  <a:schemeClr val="accent1"/>
                </a:solidFill>
              </a:rPr>
              <a:pPr algn="ctr"/>
              <a:t>‹#›</a:t>
            </a:fld>
            <a:endParaRPr lang="en-US" sz="900">
              <a:solidFill>
                <a:schemeClr val="accent1"/>
              </a:solidFill>
            </a:endParaRPr>
          </a:p>
        </p:txBody>
      </p:sp>
      <p:sp>
        <p:nvSpPr>
          <p:cNvPr id="9" name="Content Placeholder 11"/>
          <p:cNvSpPr>
            <a:spLocks noGrp="1"/>
          </p:cNvSpPr>
          <p:nvPr>
            <p:ph sz="quarter" idx="14"/>
          </p:nvPr>
        </p:nvSpPr>
        <p:spPr>
          <a:xfrm>
            <a:off x="6097109" y="1285337"/>
            <a:ext cx="5485291" cy="3452004"/>
          </a:xfrm>
        </p:spPr>
        <p:txBody>
          <a:bodyPr/>
          <a:lstStyle>
            <a:lvl1pPr>
              <a:defRPr>
                <a:solidFill>
                  <a:schemeClr val="tx1"/>
                </a:solidFill>
              </a:defRPr>
            </a:lvl1pPr>
            <a:lvl2pPr>
              <a:defRPr>
                <a:solidFill>
                  <a:schemeClr val="accent1"/>
                </a:solidFill>
              </a:defRPr>
            </a:lvl2pPr>
            <a:lvl3pPr>
              <a:defRPr>
                <a:solidFill>
                  <a:schemeClr val="bg2">
                    <a:lumMod val="50000"/>
                  </a:schemeClr>
                </a:solidFill>
              </a:defRPr>
            </a:lvl3pPr>
            <a:lvl4pPr>
              <a:defRPr>
                <a:solidFill>
                  <a:schemeClr val="bg2">
                    <a:lumMod val="50000"/>
                  </a:schemeClr>
                </a:solidFill>
              </a:defRPr>
            </a:lvl4pPr>
            <a:lvl5pPr>
              <a:defRPr>
                <a:solidFill>
                  <a:schemeClr val="bg2">
                    <a:lumMod val="50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ntent Placeholder 4"/>
          <p:cNvSpPr>
            <a:spLocks noGrp="1"/>
          </p:cNvSpPr>
          <p:nvPr>
            <p:ph sz="quarter" idx="17"/>
          </p:nvPr>
        </p:nvSpPr>
        <p:spPr>
          <a:xfrm>
            <a:off x="609600" y="4754352"/>
            <a:ext cx="11063113" cy="1739900"/>
          </a:xfrm>
        </p:spPr>
        <p:txBody>
          <a:bodyPr/>
          <a:lstStyle>
            <a:lvl1pPr>
              <a:defRPr>
                <a:solidFill>
                  <a:schemeClr val="tx1"/>
                </a:solidFill>
              </a:defRPr>
            </a:lvl1pPr>
            <a:lvl2pPr>
              <a:defRPr>
                <a:solidFill>
                  <a:schemeClr val="accent1"/>
                </a:solidFill>
              </a:defRPr>
            </a:lvl2pPr>
            <a:lvl3pPr>
              <a:defRPr>
                <a:solidFill>
                  <a:schemeClr val="bg2">
                    <a:lumMod val="50000"/>
                  </a:schemeClr>
                </a:solidFill>
              </a:defRPr>
            </a:lvl3pPr>
            <a:lvl4pPr>
              <a:defRPr>
                <a:solidFill>
                  <a:schemeClr val="bg2">
                    <a:lumMod val="50000"/>
                  </a:schemeClr>
                </a:solidFill>
              </a:defRPr>
            </a:lvl4pPr>
            <a:lvl5pPr>
              <a:defRPr>
                <a:solidFill>
                  <a:schemeClr val="bg2">
                    <a:lumMod val="50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11"/>
          <p:cNvSpPr>
            <a:spLocks noGrp="1"/>
          </p:cNvSpPr>
          <p:nvPr>
            <p:ph type="body" sz="quarter" idx="18" hasCustomPrompt="1"/>
          </p:nvPr>
        </p:nvSpPr>
        <p:spPr>
          <a:xfrm>
            <a:off x="609600" y="6556376"/>
            <a:ext cx="10972800" cy="301625"/>
          </a:xfrm>
        </p:spPr>
        <p:txBody>
          <a:bodyPr anchor="ctr"/>
          <a:lstStyle>
            <a:lvl1pPr marL="3175" marR="0" indent="0" algn="l" defTabSz="914400" rtl="0" eaLnBrk="1" fontAlgn="auto" latinLnBrk="0" hangingPunct="1">
              <a:lnSpc>
                <a:spcPct val="100000"/>
              </a:lnSpc>
              <a:spcBef>
                <a:spcPts val="0"/>
              </a:spcBef>
              <a:spcAft>
                <a:spcPts val="0"/>
              </a:spcAft>
              <a:buClr>
                <a:schemeClr val="tx1">
                  <a:lumMod val="75000"/>
                  <a:lumOff val="25000"/>
                </a:schemeClr>
              </a:buClr>
              <a:buSzTx/>
              <a:buFont typeface="Arial" panose="020B0604020202020204" pitchFamily="34" charset="0"/>
              <a:buNone/>
              <a:tabLst/>
              <a:defRPr sz="900" b="0">
                <a:solidFill>
                  <a:schemeClr val="bg2">
                    <a:lumMod val="50000"/>
                  </a:schemeClr>
                </a:solidFill>
              </a:defRPr>
            </a:lvl1pPr>
            <a:lvl2pPr>
              <a:spcBef>
                <a:spcPts val="0"/>
              </a:spcBef>
              <a:defRPr/>
            </a:lvl2pPr>
            <a:lvl3pPr>
              <a:spcBef>
                <a:spcPts val="0"/>
              </a:spcBef>
              <a:defRPr/>
            </a:lvl3pPr>
            <a:lvl4pPr>
              <a:spcBef>
                <a:spcPts val="0"/>
              </a:spcBef>
              <a:defRPr/>
            </a:lvl4pPr>
            <a:lvl5pPr>
              <a:spcBef>
                <a:spcPts val="0"/>
              </a:spcBef>
              <a:defRPr/>
            </a:lvl5pPr>
          </a:lstStyle>
          <a:p>
            <a:pPr marL="3175" marR="0" lvl="0" indent="0" algn="l" defTabSz="914400" rtl="0" eaLnBrk="1" fontAlgn="auto" latinLnBrk="0" hangingPunct="1">
              <a:lnSpc>
                <a:spcPct val="100000"/>
              </a:lnSpc>
              <a:spcBef>
                <a:spcPts val="0"/>
              </a:spcBef>
              <a:spcAft>
                <a:spcPts val="0"/>
              </a:spcAft>
              <a:buClr>
                <a:schemeClr val="tx1">
                  <a:lumMod val="75000"/>
                  <a:lumOff val="25000"/>
                </a:schemeClr>
              </a:buClr>
              <a:buSzTx/>
              <a:buFont typeface="Arial" panose="020B0604020202020204" pitchFamily="34" charset="0"/>
              <a:buNone/>
              <a:tabLst/>
              <a:defRPr/>
            </a:pPr>
            <a:r>
              <a:rPr lang="en-US"/>
              <a:t>Sources/Notes section in 9 point </a:t>
            </a:r>
            <a:r>
              <a:rPr lang="en-US" b="1"/>
              <a:t>White, Darker 50%</a:t>
            </a:r>
          </a:p>
        </p:txBody>
      </p:sp>
      <p:sp>
        <p:nvSpPr>
          <p:cNvPr id="11" name="Isosceles Triangle 7"/>
          <p:cNvSpPr/>
          <p:nvPr userDrawn="1"/>
        </p:nvSpPr>
        <p:spPr>
          <a:xfrm rot="5400000">
            <a:off x="-526920" y="526918"/>
            <a:ext cx="1203355" cy="149527"/>
          </a:xfrm>
          <a:prstGeom prst="triangle">
            <a:avLst>
              <a:gd name="adj" fmla="val 84814"/>
            </a:avLst>
          </a:prstGeom>
          <a:gradFill flip="none" rotWithShape="1">
            <a:gsLst>
              <a:gs pos="0">
                <a:schemeClr val="accent3">
                  <a:lumMod val="75000"/>
                </a:schemeClr>
              </a:gs>
              <a:gs pos="21000">
                <a:srgbClr val="4F74A0"/>
              </a:gs>
              <a:gs pos="100000">
                <a:srgbClr val="A0C1D6"/>
              </a:gs>
            </a:gsLst>
            <a:lin ang="12000000" scaled="0"/>
            <a:tileRect/>
          </a:gra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sz="1800"/>
          </a:p>
        </p:txBody>
      </p:sp>
      <p:pic>
        <p:nvPicPr>
          <p:cNvPr id="15" name="Graphic 14">
            <a:extLst>
              <a:ext uri="{FF2B5EF4-FFF2-40B4-BE49-F238E27FC236}">
                <a16:creationId xmlns:a16="http://schemas.microsoft.com/office/drawing/2014/main" id="{6CB4149F-01E9-40A8-AF6C-99D38407C9F0}"/>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51496" y="6405894"/>
            <a:ext cx="152400" cy="330200"/>
          </a:xfrm>
          <a:prstGeom prst="rect">
            <a:avLst/>
          </a:prstGeom>
        </p:spPr>
      </p:pic>
    </p:spTree>
    <p:extLst>
      <p:ext uri="{BB962C8B-B14F-4D97-AF65-F5344CB8AC3E}">
        <p14:creationId xmlns:p14="http://schemas.microsoft.com/office/powerpoint/2010/main" val="18026951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Section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extLst>
              <p:ext uri="{D42A27DB-BD31-4B8C-83A1-F6EECF244321}">
                <p14:modId xmlns:p14="http://schemas.microsoft.com/office/powerpoint/2010/main" val="1561619277"/>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5" name="Object 4"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27" name="Text Placeholder 19"/>
          <p:cNvSpPr>
            <a:spLocks noGrp="1"/>
          </p:cNvSpPr>
          <p:nvPr>
            <p:ph type="body" sz="quarter" idx="26" hasCustomPrompt="1"/>
          </p:nvPr>
        </p:nvSpPr>
        <p:spPr>
          <a:xfrm>
            <a:off x="601132" y="1376604"/>
            <a:ext cx="813600" cy="1468679"/>
          </a:xfrm>
          <a:noFill/>
          <a:ln>
            <a:noFill/>
          </a:ln>
        </p:spPr>
        <p:txBody>
          <a:bodyPr anchor="ctr">
            <a:normAutofit/>
          </a:bodyPr>
          <a:lstStyle>
            <a:lvl1pPr marL="3175" indent="0" algn="ctr">
              <a:buNone/>
              <a:defRPr sz="800" b="0" i="1" baseline="0">
                <a:solidFill>
                  <a:schemeClr val="bg2">
                    <a:lumMod val="75000"/>
                  </a:schemeClr>
                </a:solidFill>
              </a:defRPr>
            </a:lvl1pPr>
          </a:lstStyle>
          <a:p>
            <a:pPr lvl="0"/>
            <a:r>
              <a:rPr lang="en-US"/>
              <a:t>Icon</a:t>
            </a:r>
          </a:p>
          <a:p>
            <a:pPr lvl="0"/>
            <a:r>
              <a:rPr lang="en-US"/>
              <a:t>Remove Once Icon is Added</a:t>
            </a:r>
          </a:p>
        </p:txBody>
      </p:sp>
      <p:sp>
        <p:nvSpPr>
          <p:cNvPr id="17" name="Text Placeholder 19"/>
          <p:cNvSpPr>
            <a:spLocks noGrp="1"/>
          </p:cNvSpPr>
          <p:nvPr>
            <p:ph type="body" sz="quarter" idx="30" hasCustomPrompt="1"/>
          </p:nvPr>
        </p:nvSpPr>
        <p:spPr>
          <a:xfrm>
            <a:off x="609601" y="3194302"/>
            <a:ext cx="805131" cy="1463675"/>
          </a:xfrm>
          <a:noFill/>
          <a:ln>
            <a:noFill/>
          </a:ln>
        </p:spPr>
        <p:txBody>
          <a:bodyPr anchor="ctr">
            <a:normAutofit/>
          </a:bodyPr>
          <a:lstStyle>
            <a:lvl1pPr marL="3175" marR="0" indent="0" algn="ctr" defTabSz="914400" rtl="0" eaLnBrk="1" fontAlgn="auto" latinLnBrk="0" hangingPunct="1">
              <a:lnSpc>
                <a:spcPct val="100000"/>
              </a:lnSpc>
              <a:spcBef>
                <a:spcPts val="600"/>
              </a:spcBef>
              <a:spcAft>
                <a:spcPts val="0"/>
              </a:spcAft>
              <a:buClr>
                <a:schemeClr val="tx1">
                  <a:lumMod val="50000"/>
                  <a:lumOff val="50000"/>
                </a:schemeClr>
              </a:buClr>
              <a:buSzTx/>
              <a:buFont typeface="Arial" panose="020B0604020202020204" pitchFamily="34" charset="0"/>
              <a:buNone/>
              <a:tabLst/>
              <a:defRPr sz="800" b="0" i="1" baseline="0">
                <a:solidFill>
                  <a:schemeClr val="bg2">
                    <a:lumMod val="75000"/>
                  </a:schemeClr>
                </a:solidFill>
              </a:defRPr>
            </a:lvl1pPr>
          </a:lstStyle>
          <a:p>
            <a:pPr lvl="0"/>
            <a:r>
              <a:rPr lang="en-US"/>
              <a:t>Icon</a:t>
            </a:r>
          </a:p>
          <a:p>
            <a:pPr marL="3175" marR="0" lvl="0" indent="0" algn="ctr" defTabSz="914400" rtl="0" eaLnBrk="1" fontAlgn="auto" latinLnBrk="0" hangingPunct="1">
              <a:lnSpc>
                <a:spcPct val="100000"/>
              </a:lnSpc>
              <a:spcBef>
                <a:spcPts val="600"/>
              </a:spcBef>
              <a:spcAft>
                <a:spcPts val="0"/>
              </a:spcAft>
              <a:buClr>
                <a:schemeClr val="tx1">
                  <a:lumMod val="50000"/>
                  <a:lumOff val="50000"/>
                </a:schemeClr>
              </a:buClr>
              <a:buSzTx/>
              <a:buFont typeface="Arial" panose="020B0604020202020204" pitchFamily="34" charset="0"/>
              <a:buNone/>
              <a:tabLst/>
              <a:defRPr/>
            </a:pPr>
            <a:r>
              <a:rPr lang="en-US"/>
              <a:t>Remove Once Icon is Added</a:t>
            </a:r>
          </a:p>
        </p:txBody>
      </p:sp>
      <p:sp>
        <p:nvSpPr>
          <p:cNvPr id="19" name="Text Placeholder 19"/>
          <p:cNvSpPr>
            <a:spLocks noGrp="1"/>
          </p:cNvSpPr>
          <p:nvPr>
            <p:ph type="body" sz="quarter" idx="32" hasCustomPrompt="1"/>
          </p:nvPr>
        </p:nvSpPr>
        <p:spPr>
          <a:xfrm>
            <a:off x="601132" y="4984742"/>
            <a:ext cx="813600" cy="1463675"/>
          </a:xfrm>
          <a:noFill/>
          <a:ln>
            <a:noFill/>
          </a:ln>
        </p:spPr>
        <p:txBody>
          <a:bodyPr anchor="ctr">
            <a:normAutofit/>
          </a:bodyPr>
          <a:lstStyle>
            <a:lvl1pPr marL="3175" marR="0" indent="0" algn="ctr" defTabSz="914400" rtl="0" eaLnBrk="1" fontAlgn="auto" latinLnBrk="0" hangingPunct="1">
              <a:lnSpc>
                <a:spcPct val="100000"/>
              </a:lnSpc>
              <a:spcBef>
                <a:spcPts val="600"/>
              </a:spcBef>
              <a:spcAft>
                <a:spcPts val="0"/>
              </a:spcAft>
              <a:buClr>
                <a:schemeClr val="tx1">
                  <a:lumMod val="50000"/>
                  <a:lumOff val="50000"/>
                </a:schemeClr>
              </a:buClr>
              <a:buSzTx/>
              <a:buFont typeface="Arial" panose="020B0604020202020204" pitchFamily="34" charset="0"/>
              <a:buNone/>
              <a:tabLst/>
              <a:defRPr sz="800" b="0" i="1" baseline="0">
                <a:solidFill>
                  <a:schemeClr val="bg2">
                    <a:lumMod val="75000"/>
                  </a:schemeClr>
                </a:solidFill>
              </a:defRPr>
            </a:lvl1pPr>
          </a:lstStyle>
          <a:p>
            <a:pPr lvl="0"/>
            <a:r>
              <a:rPr lang="en-US"/>
              <a:t>Icon</a:t>
            </a:r>
          </a:p>
          <a:p>
            <a:pPr marL="3175" marR="0" lvl="0" indent="0" algn="ctr" defTabSz="914400" rtl="0" eaLnBrk="1" fontAlgn="auto" latinLnBrk="0" hangingPunct="1">
              <a:lnSpc>
                <a:spcPct val="100000"/>
              </a:lnSpc>
              <a:spcBef>
                <a:spcPts val="600"/>
              </a:spcBef>
              <a:spcAft>
                <a:spcPts val="0"/>
              </a:spcAft>
              <a:buClr>
                <a:schemeClr val="tx1">
                  <a:lumMod val="50000"/>
                  <a:lumOff val="50000"/>
                </a:schemeClr>
              </a:buClr>
              <a:buSzTx/>
              <a:buFont typeface="Arial" panose="020B0604020202020204" pitchFamily="34" charset="0"/>
              <a:buNone/>
              <a:tabLst/>
              <a:defRPr/>
            </a:pPr>
            <a:r>
              <a:rPr lang="en-US"/>
              <a:t>Remove Once Icon is Added</a:t>
            </a:r>
          </a:p>
        </p:txBody>
      </p:sp>
      <p:sp>
        <p:nvSpPr>
          <p:cNvPr id="4" name="Text Placeholder 3"/>
          <p:cNvSpPr>
            <a:spLocks noGrp="1"/>
          </p:cNvSpPr>
          <p:nvPr>
            <p:ph type="body" sz="quarter" idx="29" hasCustomPrompt="1"/>
          </p:nvPr>
        </p:nvSpPr>
        <p:spPr>
          <a:xfrm>
            <a:off x="1414732" y="1376605"/>
            <a:ext cx="1737696" cy="1463675"/>
          </a:xfrm>
        </p:spPr>
        <p:txBody>
          <a:bodyPr anchor="ctr">
            <a:noAutofit/>
          </a:bodyPr>
          <a:lstStyle>
            <a:lvl1pPr marL="3175" indent="0" algn="l">
              <a:buFontTx/>
              <a:buNone/>
              <a:defRPr sz="2000" i="1" baseline="0">
                <a:solidFill>
                  <a:schemeClr val="tx1"/>
                </a:solidFill>
              </a:defRPr>
            </a:lvl1pPr>
          </a:lstStyle>
          <a:p>
            <a:pPr lvl="0"/>
            <a:r>
              <a:rPr lang="en-US"/>
              <a:t>Content Header</a:t>
            </a:r>
          </a:p>
        </p:txBody>
      </p:sp>
      <p:sp>
        <p:nvSpPr>
          <p:cNvPr id="18" name="Text Placeholder 3"/>
          <p:cNvSpPr>
            <a:spLocks noGrp="1"/>
          </p:cNvSpPr>
          <p:nvPr>
            <p:ph type="body" sz="quarter" idx="31" hasCustomPrompt="1"/>
          </p:nvPr>
        </p:nvSpPr>
        <p:spPr>
          <a:xfrm>
            <a:off x="1414732" y="3194303"/>
            <a:ext cx="1737696" cy="1463675"/>
          </a:xfrm>
        </p:spPr>
        <p:txBody>
          <a:bodyPr anchor="ctr">
            <a:noAutofit/>
          </a:bodyPr>
          <a:lstStyle>
            <a:lvl1pPr marL="3175" indent="0" algn="l">
              <a:buFontTx/>
              <a:buNone/>
              <a:defRPr sz="2000" i="1" baseline="0">
                <a:solidFill>
                  <a:schemeClr val="tx1"/>
                </a:solidFill>
              </a:defRPr>
            </a:lvl1pPr>
          </a:lstStyle>
          <a:p>
            <a:pPr lvl="0"/>
            <a:r>
              <a:rPr lang="en-US"/>
              <a:t>Content Header</a:t>
            </a:r>
          </a:p>
        </p:txBody>
      </p:sp>
      <p:sp>
        <p:nvSpPr>
          <p:cNvPr id="20" name="Text Placeholder 3"/>
          <p:cNvSpPr>
            <a:spLocks noGrp="1"/>
          </p:cNvSpPr>
          <p:nvPr>
            <p:ph type="body" sz="quarter" idx="33" hasCustomPrompt="1"/>
          </p:nvPr>
        </p:nvSpPr>
        <p:spPr>
          <a:xfrm>
            <a:off x="1414732" y="4984743"/>
            <a:ext cx="1737696" cy="1463675"/>
          </a:xfrm>
        </p:spPr>
        <p:txBody>
          <a:bodyPr anchor="ctr">
            <a:noAutofit/>
          </a:bodyPr>
          <a:lstStyle>
            <a:lvl1pPr marL="3175" indent="0" algn="l">
              <a:buFontTx/>
              <a:buNone/>
              <a:defRPr sz="2000" i="1" baseline="0">
                <a:solidFill>
                  <a:schemeClr val="tx1"/>
                </a:solidFill>
              </a:defRPr>
            </a:lvl1pPr>
          </a:lstStyle>
          <a:p>
            <a:pPr lvl="0"/>
            <a:r>
              <a:rPr lang="en-US"/>
              <a:t>Content Header</a:t>
            </a:r>
          </a:p>
        </p:txBody>
      </p:sp>
      <p:sp>
        <p:nvSpPr>
          <p:cNvPr id="2" name="Title 1"/>
          <p:cNvSpPr>
            <a:spLocks noGrp="1"/>
          </p:cNvSpPr>
          <p:nvPr>
            <p:ph type="title" hasCustomPrompt="1"/>
          </p:nvPr>
        </p:nvSpPr>
        <p:spPr/>
        <p:txBody>
          <a:bodyPr vert="horz" anchor="ctr"/>
          <a:lstStyle>
            <a:lvl1pPr>
              <a:defRPr b="0">
                <a:solidFill>
                  <a:schemeClr val="tx1"/>
                </a:solidFill>
              </a:defRPr>
            </a:lvl1pPr>
          </a:lstStyle>
          <a:p>
            <a:r>
              <a:rPr lang="en-US"/>
              <a:t>Content Title Line 1</a:t>
            </a:r>
            <a:br>
              <a:rPr lang="en-US"/>
            </a:br>
            <a:r>
              <a:rPr lang="en-US"/>
              <a:t>Content Title Line Continued</a:t>
            </a:r>
          </a:p>
        </p:txBody>
      </p:sp>
      <p:sp>
        <p:nvSpPr>
          <p:cNvPr id="13" name="Slide Number Placeholder 5"/>
          <p:cNvSpPr txBox="1">
            <a:spLocks/>
          </p:cNvSpPr>
          <p:nvPr userDrawn="1"/>
        </p:nvSpPr>
        <p:spPr>
          <a:xfrm>
            <a:off x="11672714" y="6626677"/>
            <a:ext cx="475287" cy="154849"/>
          </a:xfrm>
          <a:prstGeom prst="rect">
            <a:avLst/>
          </a:prstGeom>
        </p:spPr>
        <p:txBody>
          <a:bodyPr anchor="ctr"/>
          <a:lstStyle>
            <a:defPPr>
              <a:defRPr lang="en-US"/>
            </a:defPPr>
            <a:lvl1pPr marL="0" algn="l"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29561F6A-E2B6-43F1-8866-24E01C368EF0}" type="slidenum">
              <a:rPr lang="en-US" sz="900" smtClean="0">
                <a:solidFill>
                  <a:schemeClr val="accent1"/>
                </a:solidFill>
              </a:rPr>
              <a:pPr algn="ctr"/>
              <a:t>‹#›</a:t>
            </a:fld>
            <a:endParaRPr lang="en-US" sz="900">
              <a:solidFill>
                <a:schemeClr val="accent1"/>
              </a:solidFill>
            </a:endParaRPr>
          </a:p>
        </p:txBody>
      </p:sp>
      <p:sp>
        <p:nvSpPr>
          <p:cNvPr id="14" name="Text Placeholder 10"/>
          <p:cNvSpPr>
            <a:spLocks noGrp="1"/>
          </p:cNvSpPr>
          <p:nvPr>
            <p:ph type="body" sz="quarter" idx="17"/>
          </p:nvPr>
        </p:nvSpPr>
        <p:spPr>
          <a:xfrm>
            <a:off x="3151517" y="1371600"/>
            <a:ext cx="8430883" cy="1465052"/>
          </a:xfrm>
          <a:ln>
            <a:noFill/>
          </a:ln>
        </p:spPr>
        <p:txBody>
          <a:bodyPr anchor="ctr">
            <a:noAutofit/>
          </a:bodyPr>
          <a:lstStyle>
            <a:lvl1pPr>
              <a:defRPr>
                <a:solidFill>
                  <a:schemeClr val="tx1"/>
                </a:solidFill>
              </a:defRPr>
            </a:lvl1pPr>
            <a:lvl2pPr>
              <a:defRPr>
                <a:solidFill>
                  <a:schemeClr val="accent1"/>
                </a:solidFill>
              </a:defRPr>
            </a:lvl2pPr>
            <a:lvl3pPr>
              <a:defRPr>
                <a:solidFill>
                  <a:schemeClr val="bg2">
                    <a:lumMod val="50000"/>
                  </a:schemeClr>
                </a:solidFill>
              </a:defRPr>
            </a:lvl3pPr>
            <a:lvl4pPr>
              <a:defRPr>
                <a:solidFill>
                  <a:schemeClr val="bg2">
                    <a:lumMod val="50000"/>
                  </a:schemeClr>
                </a:solidFill>
              </a:defRPr>
            </a:lvl4pPr>
            <a:lvl5pPr>
              <a:defRPr>
                <a:solidFill>
                  <a:schemeClr val="bg2">
                    <a:lumMod val="50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Text Placeholder 10"/>
          <p:cNvSpPr>
            <a:spLocks noGrp="1"/>
          </p:cNvSpPr>
          <p:nvPr>
            <p:ph type="body" sz="quarter" idx="18"/>
          </p:nvPr>
        </p:nvSpPr>
        <p:spPr>
          <a:xfrm>
            <a:off x="3151517" y="3194938"/>
            <a:ext cx="8430883" cy="1463040"/>
          </a:xfrm>
          <a:ln>
            <a:noFill/>
          </a:ln>
        </p:spPr>
        <p:txBody>
          <a:bodyPr anchor="ctr">
            <a:noAutofit/>
          </a:bodyPr>
          <a:lstStyle>
            <a:lvl1pPr>
              <a:defRPr>
                <a:solidFill>
                  <a:schemeClr val="tx1"/>
                </a:solidFill>
              </a:defRPr>
            </a:lvl1pPr>
            <a:lvl2pPr>
              <a:defRPr>
                <a:solidFill>
                  <a:schemeClr val="accent1"/>
                </a:solidFill>
              </a:defRPr>
            </a:lvl2pPr>
            <a:lvl3pPr>
              <a:defRPr>
                <a:solidFill>
                  <a:schemeClr val="bg2">
                    <a:lumMod val="50000"/>
                  </a:schemeClr>
                </a:solidFill>
              </a:defRPr>
            </a:lvl3pPr>
            <a:lvl4pPr>
              <a:defRPr>
                <a:solidFill>
                  <a:schemeClr val="bg2">
                    <a:lumMod val="50000"/>
                  </a:schemeClr>
                </a:solidFill>
              </a:defRPr>
            </a:lvl4pPr>
            <a:lvl5pPr>
              <a:defRPr>
                <a:solidFill>
                  <a:schemeClr val="bg2">
                    <a:lumMod val="50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ext Placeholder 10"/>
          <p:cNvSpPr>
            <a:spLocks noGrp="1"/>
          </p:cNvSpPr>
          <p:nvPr>
            <p:ph type="body" sz="quarter" idx="19"/>
          </p:nvPr>
        </p:nvSpPr>
        <p:spPr>
          <a:xfrm>
            <a:off x="3151517" y="4990381"/>
            <a:ext cx="8430883" cy="1463040"/>
          </a:xfrm>
          <a:ln>
            <a:noFill/>
          </a:ln>
        </p:spPr>
        <p:txBody>
          <a:bodyPr anchor="ctr">
            <a:noAutofit/>
          </a:bodyPr>
          <a:lstStyle>
            <a:lvl1pPr>
              <a:defRPr>
                <a:solidFill>
                  <a:schemeClr val="tx1"/>
                </a:solidFill>
              </a:defRPr>
            </a:lvl1pPr>
            <a:lvl2pPr>
              <a:defRPr>
                <a:solidFill>
                  <a:schemeClr val="accent1"/>
                </a:solidFill>
              </a:defRPr>
            </a:lvl2pPr>
            <a:lvl3pPr>
              <a:defRPr>
                <a:solidFill>
                  <a:schemeClr val="bg2">
                    <a:lumMod val="50000"/>
                  </a:schemeClr>
                </a:solidFill>
              </a:defRPr>
            </a:lvl3pPr>
            <a:lvl4pPr>
              <a:defRPr>
                <a:solidFill>
                  <a:schemeClr val="bg2">
                    <a:lumMod val="50000"/>
                  </a:schemeClr>
                </a:solidFill>
              </a:defRPr>
            </a:lvl4pPr>
            <a:lvl5pPr>
              <a:defRPr>
                <a:solidFill>
                  <a:schemeClr val="bg2">
                    <a:lumMod val="50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p:cNvSpPr>
            <a:spLocks noGrp="1"/>
          </p:cNvSpPr>
          <p:nvPr>
            <p:ph type="body" sz="quarter" idx="14" hasCustomPrompt="1"/>
          </p:nvPr>
        </p:nvSpPr>
        <p:spPr>
          <a:xfrm>
            <a:off x="609600" y="6556376"/>
            <a:ext cx="10972800" cy="301625"/>
          </a:xfrm>
        </p:spPr>
        <p:txBody>
          <a:bodyPr anchor="ctr"/>
          <a:lstStyle>
            <a:lvl1pPr marL="3175" marR="0" indent="0" algn="l" defTabSz="914400" rtl="0" eaLnBrk="1" fontAlgn="auto" latinLnBrk="0" hangingPunct="1">
              <a:lnSpc>
                <a:spcPct val="100000"/>
              </a:lnSpc>
              <a:spcBef>
                <a:spcPts val="0"/>
              </a:spcBef>
              <a:spcAft>
                <a:spcPts val="0"/>
              </a:spcAft>
              <a:buClr>
                <a:schemeClr val="tx1">
                  <a:lumMod val="75000"/>
                  <a:lumOff val="25000"/>
                </a:schemeClr>
              </a:buClr>
              <a:buSzTx/>
              <a:buFont typeface="Arial" panose="020B0604020202020204" pitchFamily="34" charset="0"/>
              <a:buNone/>
              <a:tabLst/>
              <a:defRPr sz="900" b="0">
                <a:solidFill>
                  <a:schemeClr val="bg2">
                    <a:lumMod val="50000"/>
                  </a:schemeClr>
                </a:solidFill>
              </a:defRPr>
            </a:lvl1pPr>
            <a:lvl2pPr>
              <a:spcBef>
                <a:spcPts val="0"/>
              </a:spcBef>
              <a:defRPr/>
            </a:lvl2pPr>
            <a:lvl3pPr>
              <a:spcBef>
                <a:spcPts val="0"/>
              </a:spcBef>
              <a:defRPr/>
            </a:lvl3pPr>
            <a:lvl4pPr>
              <a:spcBef>
                <a:spcPts val="0"/>
              </a:spcBef>
              <a:defRPr/>
            </a:lvl4pPr>
            <a:lvl5pPr>
              <a:spcBef>
                <a:spcPts val="0"/>
              </a:spcBef>
              <a:defRPr/>
            </a:lvl5pPr>
          </a:lstStyle>
          <a:p>
            <a:pPr marL="3175" marR="0" lvl="0" indent="0" algn="l" defTabSz="914400" rtl="0" eaLnBrk="1" fontAlgn="auto" latinLnBrk="0" hangingPunct="1">
              <a:lnSpc>
                <a:spcPct val="100000"/>
              </a:lnSpc>
              <a:spcBef>
                <a:spcPts val="0"/>
              </a:spcBef>
              <a:spcAft>
                <a:spcPts val="0"/>
              </a:spcAft>
              <a:buClr>
                <a:schemeClr val="tx1">
                  <a:lumMod val="75000"/>
                  <a:lumOff val="25000"/>
                </a:schemeClr>
              </a:buClr>
              <a:buSzTx/>
              <a:buFont typeface="Arial" panose="020B0604020202020204" pitchFamily="34" charset="0"/>
              <a:buNone/>
              <a:tabLst/>
              <a:defRPr/>
            </a:pPr>
            <a:r>
              <a:rPr lang="en-US"/>
              <a:t>Sources/Notes section in 9 point </a:t>
            </a:r>
            <a:r>
              <a:rPr lang="en-US" b="1"/>
              <a:t>White, Darker 50%</a:t>
            </a:r>
          </a:p>
        </p:txBody>
      </p:sp>
      <p:sp>
        <p:nvSpPr>
          <p:cNvPr id="22" name="Isosceles Triangle 7"/>
          <p:cNvSpPr/>
          <p:nvPr userDrawn="1"/>
        </p:nvSpPr>
        <p:spPr>
          <a:xfrm rot="5400000">
            <a:off x="-526920" y="526918"/>
            <a:ext cx="1203355" cy="149527"/>
          </a:xfrm>
          <a:prstGeom prst="triangle">
            <a:avLst>
              <a:gd name="adj" fmla="val 84814"/>
            </a:avLst>
          </a:prstGeom>
          <a:gradFill flip="none" rotWithShape="1">
            <a:gsLst>
              <a:gs pos="0">
                <a:schemeClr val="accent3">
                  <a:lumMod val="75000"/>
                </a:schemeClr>
              </a:gs>
              <a:gs pos="21000">
                <a:srgbClr val="4F74A0"/>
              </a:gs>
              <a:gs pos="100000">
                <a:srgbClr val="A0C1D6"/>
              </a:gs>
            </a:gsLst>
            <a:lin ang="12000000" scaled="0"/>
            <a:tileRect/>
          </a:gra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sz="1800"/>
          </a:p>
        </p:txBody>
      </p:sp>
      <p:pic>
        <p:nvPicPr>
          <p:cNvPr id="24" name="Graphic 23">
            <a:extLst>
              <a:ext uri="{FF2B5EF4-FFF2-40B4-BE49-F238E27FC236}">
                <a16:creationId xmlns:a16="http://schemas.microsoft.com/office/drawing/2014/main" id="{649DDDAE-420B-49B1-A0A6-E18343F11A05}"/>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51496" y="6405894"/>
            <a:ext cx="152400" cy="330200"/>
          </a:xfrm>
          <a:prstGeom prst="rect">
            <a:avLst/>
          </a:prstGeom>
        </p:spPr>
      </p:pic>
    </p:spTree>
    <p:extLst>
      <p:ext uri="{BB962C8B-B14F-4D97-AF65-F5344CB8AC3E}">
        <p14:creationId xmlns:p14="http://schemas.microsoft.com/office/powerpoint/2010/main" val="235650523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Blank Slide">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extLst>
              <p:ext uri="{D42A27DB-BD31-4B8C-83A1-F6EECF244321}">
                <p14:modId xmlns:p14="http://schemas.microsoft.com/office/powerpoint/2010/main" val="4192929100"/>
              </p:ext>
            </p:extLst>
          </p:nvPr>
        </p:nvGraphicFramePr>
        <p:xfrm>
          <a:off x="2119" y="1593"/>
          <a:ext cx="2116" cy="1587"/>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6" name="Object 5" hidden="1"/>
                      <p:cNvPicPr/>
                      <p:nvPr/>
                    </p:nvPicPr>
                    <p:blipFill>
                      <a:blip r:embed="rId4"/>
                      <a:stretch>
                        <a:fillRect/>
                      </a:stretch>
                    </p:blipFill>
                    <p:spPr>
                      <a:xfrm>
                        <a:off x="2119" y="1593"/>
                        <a:ext cx="2116" cy="1587"/>
                      </a:xfrm>
                      <a:prstGeom prst="rect">
                        <a:avLst/>
                      </a:prstGeom>
                    </p:spPr>
                  </p:pic>
                </p:oleObj>
              </mc:Fallback>
            </mc:AlternateContent>
          </a:graphicData>
        </a:graphic>
      </p:graphicFrame>
      <p:sp>
        <p:nvSpPr>
          <p:cNvPr id="5" name="Slide Number Placeholder 5"/>
          <p:cNvSpPr txBox="1">
            <a:spLocks/>
          </p:cNvSpPr>
          <p:nvPr userDrawn="1"/>
        </p:nvSpPr>
        <p:spPr>
          <a:xfrm>
            <a:off x="11672714" y="6626677"/>
            <a:ext cx="475287" cy="154849"/>
          </a:xfrm>
          <a:prstGeom prst="rect">
            <a:avLst/>
          </a:prstGeom>
        </p:spPr>
        <p:txBody>
          <a:bodyPr anchor="ctr"/>
          <a:lstStyle>
            <a:defPPr>
              <a:defRPr lang="en-US"/>
            </a:defPPr>
            <a:lvl1pPr marL="0" algn="l"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29561F6A-E2B6-43F1-8866-24E01C368EF0}" type="slidenum">
              <a:rPr lang="en-US" sz="900" smtClean="0">
                <a:solidFill>
                  <a:schemeClr val="accent1"/>
                </a:solidFill>
              </a:rPr>
              <a:pPr algn="ctr"/>
              <a:t>‹#›</a:t>
            </a:fld>
            <a:endParaRPr lang="en-US" sz="900">
              <a:solidFill>
                <a:schemeClr val="accent1"/>
              </a:solidFill>
            </a:endParaRPr>
          </a:p>
        </p:txBody>
      </p:sp>
      <p:pic>
        <p:nvPicPr>
          <p:cNvPr id="7" name="Graphic 6">
            <a:extLst>
              <a:ext uri="{FF2B5EF4-FFF2-40B4-BE49-F238E27FC236}">
                <a16:creationId xmlns:a16="http://schemas.microsoft.com/office/drawing/2014/main" id="{5DD8CBB5-720A-4D3E-9302-3581E36DBE09}"/>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51496" y="6405894"/>
            <a:ext cx="152400" cy="330200"/>
          </a:xfrm>
          <a:prstGeom prst="rect">
            <a:avLst/>
          </a:prstGeom>
        </p:spPr>
      </p:pic>
      <p:sp>
        <p:nvSpPr>
          <p:cNvPr id="8" name="Isosceles Triangle 7">
            <a:extLst>
              <a:ext uri="{FF2B5EF4-FFF2-40B4-BE49-F238E27FC236}">
                <a16:creationId xmlns:a16="http://schemas.microsoft.com/office/drawing/2014/main" id="{DD36AA67-2249-4498-A83A-109C81843B94}"/>
              </a:ext>
            </a:extLst>
          </p:cNvPr>
          <p:cNvSpPr/>
          <p:nvPr userDrawn="1"/>
        </p:nvSpPr>
        <p:spPr>
          <a:xfrm rot="5400000">
            <a:off x="-526920" y="526918"/>
            <a:ext cx="1203355" cy="149527"/>
          </a:xfrm>
          <a:prstGeom prst="triangle">
            <a:avLst>
              <a:gd name="adj" fmla="val 84814"/>
            </a:avLst>
          </a:prstGeom>
          <a:gradFill flip="none" rotWithShape="1">
            <a:gsLst>
              <a:gs pos="0">
                <a:schemeClr val="accent3">
                  <a:lumMod val="75000"/>
                </a:schemeClr>
              </a:gs>
              <a:gs pos="21000">
                <a:srgbClr val="4F74A0"/>
              </a:gs>
              <a:gs pos="100000">
                <a:srgbClr val="A0C1D6"/>
              </a:gs>
            </a:gsLst>
            <a:lin ang="12000000" scaled="0"/>
            <a:tileRect/>
          </a:gra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sz="1800"/>
          </a:p>
        </p:txBody>
      </p:sp>
    </p:spTree>
    <p:extLst>
      <p:ext uri="{BB962C8B-B14F-4D97-AF65-F5344CB8AC3E}">
        <p14:creationId xmlns:p14="http://schemas.microsoft.com/office/powerpoint/2010/main" val="2313221476"/>
      </p:ext>
    </p:extLst>
  </p:cSld>
  <p:clrMapOvr>
    <a:masterClrMapping/>
  </p:clrMapOvr>
  <p:hf hdr="0" dt="0"/>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Final Slide">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userDrawn="1">
            <p:custDataLst>
              <p:tags r:id="rId1"/>
            </p:custDataLst>
            <p:extLst>
              <p:ext uri="{D42A27DB-BD31-4B8C-83A1-F6EECF244321}">
                <p14:modId xmlns:p14="http://schemas.microsoft.com/office/powerpoint/2010/main" val="1603915993"/>
              </p:ext>
            </p:extLst>
          </p:nvPr>
        </p:nvGraphicFramePr>
        <p:xfrm>
          <a:off x="2119" y="1591"/>
          <a:ext cx="2116" cy="1587"/>
        </p:xfrm>
        <a:graphic>
          <a:graphicData uri="http://schemas.openxmlformats.org/presentationml/2006/ole">
            <mc:AlternateContent xmlns:mc="http://schemas.openxmlformats.org/markup-compatibility/2006">
              <mc:Choice xmlns:v="urn:schemas-microsoft-com:vml" Requires="v">
                <p:oleObj name="think-cell Slide" r:id="rId3" imgW="421" imgH="420" progId="TCLayout.ActiveDocument.1">
                  <p:embed/>
                </p:oleObj>
              </mc:Choice>
              <mc:Fallback>
                <p:oleObj name="think-cell Slide" r:id="rId3" imgW="421" imgH="420" progId="TCLayout.ActiveDocument.1">
                  <p:embed/>
                  <p:pic>
                    <p:nvPicPr>
                      <p:cNvPr id="9" name="Object 8" hidden="1"/>
                      <p:cNvPicPr/>
                      <p:nvPr/>
                    </p:nvPicPr>
                    <p:blipFill>
                      <a:blip r:embed="rId4"/>
                      <a:stretch>
                        <a:fillRect/>
                      </a:stretch>
                    </p:blipFill>
                    <p:spPr>
                      <a:xfrm>
                        <a:off x="2119" y="1591"/>
                        <a:ext cx="2116" cy="1587"/>
                      </a:xfrm>
                      <a:prstGeom prst="rect">
                        <a:avLst/>
                      </a:prstGeom>
                    </p:spPr>
                  </p:pic>
                </p:oleObj>
              </mc:Fallback>
            </mc:AlternateContent>
          </a:graphicData>
        </a:graphic>
      </p:graphicFrame>
      <p:grpSp>
        <p:nvGrpSpPr>
          <p:cNvPr id="252" name="Group 251">
            <a:extLst>
              <a:ext uri="{FF2B5EF4-FFF2-40B4-BE49-F238E27FC236}">
                <a16:creationId xmlns:a16="http://schemas.microsoft.com/office/drawing/2014/main" id="{BD40AD30-19BD-D5AA-3A27-C23B8FDF2D88}"/>
              </a:ext>
            </a:extLst>
          </p:cNvPr>
          <p:cNvGrpSpPr>
            <a:grpSpLocks/>
          </p:cNvGrpSpPr>
          <p:nvPr userDrawn="1"/>
        </p:nvGrpSpPr>
        <p:grpSpPr>
          <a:xfrm>
            <a:off x="2999292" y="3815825"/>
            <a:ext cx="6193416" cy="3042175"/>
            <a:chOff x="571501" y="1987465"/>
            <a:chExt cx="8000999" cy="3891134"/>
          </a:xfrm>
          <a:solidFill>
            <a:srgbClr val="F3F2F2"/>
          </a:solidFill>
        </p:grpSpPr>
        <p:sp>
          <p:nvSpPr>
            <p:cNvPr id="253" name="Freeform 7">
              <a:extLst>
                <a:ext uri="{FF2B5EF4-FFF2-40B4-BE49-F238E27FC236}">
                  <a16:creationId xmlns:a16="http://schemas.microsoft.com/office/drawing/2014/main" id="{2F39AAF7-EFBC-3150-64AC-7BA79CAB6E97}"/>
                </a:ext>
              </a:extLst>
            </p:cNvPr>
            <p:cNvSpPr>
              <a:spLocks/>
            </p:cNvSpPr>
            <p:nvPr/>
          </p:nvSpPr>
          <p:spPr bwMode="auto">
            <a:xfrm>
              <a:off x="2714626" y="5784894"/>
              <a:ext cx="214313" cy="93705"/>
            </a:xfrm>
            <a:custGeom>
              <a:avLst/>
              <a:gdLst>
                <a:gd name="T0" fmla="*/ 75 w 135"/>
                <a:gd name="T1" fmla="*/ 0 h 59"/>
                <a:gd name="T2" fmla="*/ 85 w 135"/>
                <a:gd name="T3" fmla="*/ 2 h 59"/>
                <a:gd name="T4" fmla="*/ 91 w 135"/>
                <a:gd name="T5" fmla="*/ 11 h 59"/>
                <a:gd name="T6" fmla="*/ 96 w 135"/>
                <a:gd name="T7" fmla="*/ 25 h 59"/>
                <a:gd name="T8" fmla="*/ 116 w 135"/>
                <a:gd name="T9" fmla="*/ 36 h 59"/>
                <a:gd name="T10" fmla="*/ 135 w 135"/>
                <a:gd name="T11" fmla="*/ 40 h 59"/>
                <a:gd name="T12" fmla="*/ 131 w 135"/>
                <a:gd name="T13" fmla="*/ 52 h 59"/>
                <a:gd name="T14" fmla="*/ 116 w 135"/>
                <a:gd name="T15" fmla="*/ 52 h 59"/>
                <a:gd name="T16" fmla="*/ 110 w 135"/>
                <a:gd name="T17" fmla="*/ 46 h 59"/>
                <a:gd name="T18" fmla="*/ 104 w 135"/>
                <a:gd name="T19" fmla="*/ 52 h 59"/>
                <a:gd name="T20" fmla="*/ 93 w 135"/>
                <a:gd name="T21" fmla="*/ 59 h 59"/>
                <a:gd name="T22" fmla="*/ 85 w 135"/>
                <a:gd name="T23" fmla="*/ 59 h 59"/>
                <a:gd name="T24" fmla="*/ 77 w 135"/>
                <a:gd name="T25" fmla="*/ 57 h 59"/>
                <a:gd name="T26" fmla="*/ 68 w 135"/>
                <a:gd name="T27" fmla="*/ 52 h 59"/>
                <a:gd name="T28" fmla="*/ 52 w 135"/>
                <a:gd name="T29" fmla="*/ 50 h 59"/>
                <a:gd name="T30" fmla="*/ 33 w 135"/>
                <a:gd name="T31" fmla="*/ 36 h 59"/>
                <a:gd name="T32" fmla="*/ 20 w 135"/>
                <a:gd name="T33" fmla="*/ 27 h 59"/>
                <a:gd name="T34" fmla="*/ 0 w 135"/>
                <a:gd name="T35" fmla="*/ 6 h 59"/>
                <a:gd name="T36" fmla="*/ 12 w 135"/>
                <a:gd name="T37" fmla="*/ 11 h 59"/>
                <a:gd name="T38" fmla="*/ 33 w 135"/>
                <a:gd name="T39" fmla="*/ 23 h 59"/>
                <a:gd name="T40" fmla="*/ 50 w 135"/>
                <a:gd name="T41" fmla="*/ 29 h 59"/>
                <a:gd name="T42" fmla="*/ 56 w 135"/>
                <a:gd name="T43" fmla="*/ 21 h 59"/>
                <a:gd name="T44" fmla="*/ 62 w 135"/>
                <a:gd name="T45" fmla="*/ 8 h 59"/>
                <a:gd name="T46" fmla="*/ 75 w 135"/>
                <a:gd name="T47" fmla="*/ 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35" h="59">
                  <a:moveTo>
                    <a:pt x="75" y="0"/>
                  </a:moveTo>
                  <a:lnTo>
                    <a:pt x="85" y="2"/>
                  </a:lnTo>
                  <a:lnTo>
                    <a:pt x="91" y="11"/>
                  </a:lnTo>
                  <a:lnTo>
                    <a:pt x="96" y="25"/>
                  </a:lnTo>
                  <a:lnTo>
                    <a:pt x="116" y="36"/>
                  </a:lnTo>
                  <a:lnTo>
                    <a:pt x="135" y="40"/>
                  </a:lnTo>
                  <a:lnTo>
                    <a:pt x="131" y="52"/>
                  </a:lnTo>
                  <a:lnTo>
                    <a:pt x="116" y="52"/>
                  </a:lnTo>
                  <a:lnTo>
                    <a:pt x="110" y="46"/>
                  </a:lnTo>
                  <a:lnTo>
                    <a:pt x="104" y="52"/>
                  </a:lnTo>
                  <a:lnTo>
                    <a:pt x="93" y="59"/>
                  </a:lnTo>
                  <a:lnTo>
                    <a:pt x="85" y="59"/>
                  </a:lnTo>
                  <a:lnTo>
                    <a:pt x="77" y="57"/>
                  </a:lnTo>
                  <a:lnTo>
                    <a:pt x="68" y="52"/>
                  </a:lnTo>
                  <a:lnTo>
                    <a:pt x="52" y="50"/>
                  </a:lnTo>
                  <a:lnTo>
                    <a:pt x="33" y="36"/>
                  </a:lnTo>
                  <a:lnTo>
                    <a:pt x="20" y="27"/>
                  </a:lnTo>
                  <a:lnTo>
                    <a:pt x="0" y="6"/>
                  </a:lnTo>
                  <a:lnTo>
                    <a:pt x="12" y="11"/>
                  </a:lnTo>
                  <a:lnTo>
                    <a:pt x="33" y="23"/>
                  </a:lnTo>
                  <a:lnTo>
                    <a:pt x="50" y="29"/>
                  </a:lnTo>
                  <a:lnTo>
                    <a:pt x="56" y="21"/>
                  </a:lnTo>
                  <a:lnTo>
                    <a:pt x="62" y="8"/>
                  </a:lnTo>
                  <a:lnTo>
                    <a:pt x="75" y="0"/>
                  </a:lnTo>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54" name="Freeform 9">
              <a:extLst>
                <a:ext uri="{FF2B5EF4-FFF2-40B4-BE49-F238E27FC236}">
                  <a16:creationId xmlns:a16="http://schemas.microsoft.com/office/drawing/2014/main" id="{4589B4B5-5A04-D1C9-35E0-FD4D64193EC8}"/>
                </a:ext>
              </a:extLst>
            </p:cNvPr>
            <p:cNvSpPr>
              <a:spLocks/>
            </p:cNvSpPr>
            <p:nvPr/>
          </p:nvSpPr>
          <p:spPr bwMode="auto">
            <a:xfrm>
              <a:off x="3014663" y="5745189"/>
              <a:ext cx="74613" cy="30177"/>
            </a:xfrm>
            <a:custGeom>
              <a:avLst/>
              <a:gdLst>
                <a:gd name="T0" fmla="*/ 38 w 47"/>
                <a:gd name="T1" fmla="*/ 0 h 19"/>
                <a:gd name="T2" fmla="*/ 47 w 47"/>
                <a:gd name="T3" fmla="*/ 8 h 19"/>
                <a:gd name="T4" fmla="*/ 46 w 47"/>
                <a:gd name="T5" fmla="*/ 13 h 19"/>
                <a:gd name="T6" fmla="*/ 24 w 47"/>
                <a:gd name="T7" fmla="*/ 19 h 19"/>
                <a:gd name="T8" fmla="*/ 21 w 47"/>
                <a:gd name="T9" fmla="*/ 11 h 19"/>
                <a:gd name="T10" fmla="*/ 9 w 47"/>
                <a:gd name="T11" fmla="*/ 19 h 19"/>
                <a:gd name="T12" fmla="*/ 0 w 47"/>
                <a:gd name="T13" fmla="*/ 11 h 19"/>
                <a:gd name="T14" fmla="*/ 17 w 47"/>
                <a:gd name="T15" fmla="*/ 2 h 19"/>
                <a:gd name="T16" fmla="*/ 30 w 47"/>
                <a:gd name="T17" fmla="*/ 6 h 19"/>
                <a:gd name="T18" fmla="*/ 38 w 47"/>
                <a:gd name="T19"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7" h="19">
                  <a:moveTo>
                    <a:pt x="38" y="0"/>
                  </a:moveTo>
                  <a:lnTo>
                    <a:pt x="47" y="8"/>
                  </a:lnTo>
                  <a:lnTo>
                    <a:pt x="46" y="13"/>
                  </a:lnTo>
                  <a:lnTo>
                    <a:pt x="24" y="19"/>
                  </a:lnTo>
                  <a:lnTo>
                    <a:pt x="21" y="11"/>
                  </a:lnTo>
                  <a:lnTo>
                    <a:pt x="9" y="19"/>
                  </a:lnTo>
                  <a:lnTo>
                    <a:pt x="0" y="11"/>
                  </a:lnTo>
                  <a:lnTo>
                    <a:pt x="17" y="2"/>
                  </a:lnTo>
                  <a:lnTo>
                    <a:pt x="30" y="6"/>
                  </a:lnTo>
                  <a:lnTo>
                    <a:pt x="38" y="0"/>
                  </a:lnTo>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55" name="Freeform 11">
              <a:extLst>
                <a:ext uri="{FF2B5EF4-FFF2-40B4-BE49-F238E27FC236}">
                  <a16:creationId xmlns:a16="http://schemas.microsoft.com/office/drawing/2014/main" id="{85C17616-7CF9-9232-B102-3A075CD23F20}"/>
                </a:ext>
              </a:extLst>
            </p:cNvPr>
            <p:cNvSpPr>
              <a:spLocks/>
            </p:cNvSpPr>
            <p:nvPr/>
          </p:nvSpPr>
          <p:spPr bwMode="auto">
            <a:xfrm>
              <a:off x="5886451" y="5672131"/>
              <a:ext cx="42863" cy="30177"/>
            </a:xfrm>
            <a:custGeom>
              <a:avLst/>
              <a:gdLst>
                <a:gd name="T0" fmla="*/ 4 w 27"/>
                <a:gd name="T1" fmla="*/ 0 h 19"/>
                <a:gd name="T2" fmla="*/ 13 w 27"/>
                <a:gd name="T3" fmla="*/ 6 h 19"/>
                <a:gd name="T4" fmla="*/ 25 w 27"/>
                <a:gd name="T5" fmla="*/ 8 h 19"/>
                <a:gd name="T6" fmla="*/ 27 w 27"/>
                <a:gd name="T7" fmla="*/ 11 h 19"/>
                <a:gd name="T8" fmla="*/ 23 w 27"/>
                <a:gd name="T9" fmla="*/ 19 h 19"/>
                <a:gd name="T10" fmla="*/ 2 w 27"/>
                <a:gd name="T11" fmla="*/ 19 h 19"/>
                <a:gd name="T12" fmla="*/ 0 w 27"/>
                <a:gd name="T13" fmla="*/ 11 h 19"/>
                <a:gd name="T14" fmla="*/ 4 w 27"/>
                <a:gd name="T15" fmla="*/ 4 h 19"/>
                <a:gd name="T16" fmla="*/ 4 w 27"/>
                <a:gd name="T17"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7" h="19">
                  <a:moveTo>
                    <a:pt x="4" y="0"/>
                  </a:moveTo>
                  <a:lnTo>
                    <a:pt x="13" y="6"/>
                  </a:lnTo>
                  <a:lnTo>
                    <a:pt x="25" y="8"/>
                  </a:lnTo>
                  <a:lnTo>
                    <a:pt x="27" y="11"/>
                  </a:lnTo>
                  <a:lnTo>
                    <a:pt x="23" y="19"/>
                  </a:lnTo>
                  <a:lnTo>
                    <a:pt x="2" y="19"/>
                  </a:lnTo>
                  <a:lnTo>
                    <a:pt x="0" y="11"/>
                  </a:lnTo>
                  <a:lnTo>
                    <a:pt x="4" y="4"/>
                  </a:lnTo>
                  <a:lnTo>
                    <a:pt x="4" y="0"/>
                  </a:lnTo>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56" name="Freeform 13">
              <a:extLst>
                <a:ext uri="{FF2B5EF4-FFF2-40B4-BE49-F238E27FC236}">
                  <a16:creationId xmlns:a16="http://schemas.microsoft.com/office/drawing/2014/main" id="{37E1F12A-6505-A866-9F6A-A0611B81F9E0}"/>
                </a:ext>
              </a:extLst>
            </p:cNvPr>
            <p:cNvSpPr>
              <a:spLocks/>
            </p:cNvSpPr>
            <p:nvPr/>
          </p:nvSpPr>
          <p:spPr bwMode="auto">
            <a:xfrm>
              <a:off x="7567612" y="5452957"/>
              <a:ext cx="82550" cy="82587"/>
            </a:xfrm>
            <a:custGeom>
              <a:avLst/>
              <a:gdLst>
                <a:gd name="T0" fmla="*/ 0 w 52"/>
                <a:gd name="T1" fmla="*/ 0 h 52"/>
                <a:gd name="T2" fmla="*/ 10 w 52"/>
                <a:gd name="T3" fmla="*/ 2 h 52"/>
                <a:gd name="T4" fmla="*/ 23 w 52"/>
                <a:gd name="T5" fmla="*/ 9 h 52"/>
                <a:gd name="T6" fmla="*/ 31 w 52"/>
                <a:gd name="T7" fmla="*/ 5 h 52"/>
                <a:gd name="T8" fmla="*/ 42 w 52"/>
                <a:gd name="T9" fmla="*/ 2 h 52"/>
                <a:gd name="T10" fmla="*/ 52 w 52"/>
                <a:gd name="T11" fmla="*/ 4 h 52"/>
                <a:gd name="T12" fmla="*/ 52 w 52"/>
                <a:gd name="T13" fmla="*/ 25 h 52"/>
                <a:gd name="T14" fmla="*/ 48 w 52"/>
                <a:gd name="T15" fmla="*/ 29 h 52"/>
                <a:gd name="T16" fmla="*/ 46 w 52"/>
                <a:gd name="T17" fmla="*/ 42 h 52"/>
                <a:gd name="T18" fmla="*/ 40 w 52"/>
                <a:gd name="T19" fmla="*/ 40 h 52"/>
                <a:gd name="T20" fmla="*/ 31 w 52"/>
                <a:gd name="T21" fmla="*/ 52 h 52"/>
                <a:gd name="T22" fmla="*/ 27 w 52"/>
                <a:gd name="T23" fmla="*/ 50 h 52"/>
                <a:gd name="T24" fmla="*/ 17 w 52"/>
                <a:gd name="T25" fmla="*/ 50 h 52"/>
                <a:gd name="T26" fmla="*/ 10 w 52"/>
                <a:gd name="T27" fmla="*/ 34 h 52"/>
                <a:gd name="T28" fmla="*/ 8 w 52"/>
                <a:gd name="T29" fmla="*/ 23 h 52"/>
                <a:gd name="T30" fmla="*/ 0 w 52"/>
                <a:gd name="T31" fmla="*/ 9 h 52"/>
                <a:gd name="T32" fmla="*/ 0 w 52"/>
                <a:gd name="T33"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2" h="52">
                  <a:moveTo>
                    <a:pt x="0" y="0"/>
                  </a:moveTo>
                  <a:lnTo>
                    <a:pt x="10" y="2"/>
                  </a:lnTo>
                  <a:lnTo>
                    <a:pt x="23" y="9"/>
                  </a:lnTo>
                  <a:lnTo>
                    <a:pt x="31" y="5"/>
                  </a:lnTo>
                  <a:lnTo>
                    <a:pt x="42" y="2"/>
                  </a:lnTo>
                  <a:lnTo>
                    <a:pt x="52" y="4"/>
                  </a:lnTo>
                  <a:lnTo>
                    <a:pt x="52" y="25"/>
                  </a:lnTo>
                  <a:lnTo>
                    <a:pt x="48" y="29"/>
                  </a:lnTo>
                  <a:lnTo>
                    <a:pt x="46" y="42"/>
                  </a:lnTo>
                  <a:lnTo>
                    <a:pt x="40" y="40"/>
                  </a:lnTo>
                  <a:lnTo>
                    <a:pt x="31" y="52"/>
                  </a:lnTo>
                  <a:lnTo>
                    <a:pt x="27" y="50"/>
                  </a:lnTo>
                  <a:lnTo>
                    <a:pt x="17" y="50"/>
                  </a:lnTo>
                  <a:lnTo>
                    <a:pt x="10" y="34"/>
                  </a:lnTo>
                  <a:lnTo>
                    <a:pt x="8" y="23"/>
                  </a:lnTo>
                  <a:lnTo>
                    <a:pt x="0" y="9"/>
                  </a:lnTo>
                  <a:lnTo>
                    <a:pt x="0" y="0"/>
                  </a:lnTo>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57" name="Freeform 15">
              <a:extLst>
                <a:ext uri="{FF2B5EF4-FFF2-40B4-BE49-F238E27FC236}">
                  <a16:creationId xmlns:a16="http://schemas.microsoft.com/office/drawing/2014/main" id="{8E9F908F-31B7-B536-8084-5A17DBB87A3E}"/>
                </a:ext>
              </a:extLst>
            </p:cNvPr>
            <p:cNvSpPr>
              <a:spLocks/>
            </p:cNvSpPr>
            <p:nvPr/>
          </p:nvSpPr>
          <p:spPr bwMode="auto">
            <a:xfrm>
              <a:off x="8051800" y="5449780"/>
              <a:ext cx="171450" cy="163587"/>
            </a:xfrm>
            <a:custGeom>
              <a:avLst/>
              <a:gdLst>
                <a:gd name="T0" fmla="*/ 87 w 108"/>
                <a:gd name="T1" fmla="*/ 0 h 103"/>
                <a:gd name="T2" fmla="*/ 90 w 108"/>
                <a:gd name="T3" fmla="*/ 6 h 103"/>
                <a:gd name="T4" fmla="*/ 94 w 108"/>
                <a:gd name="T5" fmla="*/ 13 h 103"/>
                <a:gd name="T6" fmla="*/ 104 w 108"/>
                <a:gd name="T7" fmla="*/ 6 h 103"/>
                <a:gd name="T8" fmla="*/ 108 w 108"/>
                <a:gd name="T9" fmla="*/ 15 h 103"/>
                <a:gd name="T10" fmla="*/ 108 w 108"/>
                <a:gd name="T11" fmla="*/ 21 h 103"/>
                <a:gd name="T12" fmla="*/ 102 w 108"/>
                <a:gd name="T13" fmla="*/ 27 h 103"/>
                <a:gd name="T14" fmla="*/ 92 w 108"/>
                <a:gd name="T15" fmla="*/ 42 h 103"/>
                <a:gd name="T16" fmla="*/ 85 w 108"/>
                <a:gd name="T17" fmla="*/ 48 h 103"/>
                <a:gd name="T18" fmla="*/ 90 w 108"/>
                <a:gd name="T19" fmla="*/ 55 h 103"/>
                <a:gd name="T20" fmla="*/ 81 w 108"/>
                <a:gd name="T21" fmla="*/ 55 h 103"/>
                <a:gd name="T22" fmla="*/ 69 w 108"/>
                <a:gd name="T23" fmla="*/ 63 h 103"/>
                <a:gd name="T24" fmla="*/ 64 w 108"/>
                <a:gd name="T25" fmla="*/ 73 h 103"/>
                <a:gd name="T26" fmla="*/ 58 w 108"/>
                <a:gd name="T27" fmla="*/ 92 h 103"/>
                <a:gd name="T28" fmla="*/ 46 w 108"/>
                <a:gd name="T29" fmla="*/ 100 h 103"/>
                <a:gd name="T30" fmla="*/ 39 w 108"/>
                <a:gd name="T31" fmla="*/ 103 h 103"/>
                <a:gd name="T32" fmla="*/ 25 w 108"/>
                <a:gd name="T33" fmla="*/ 103 h 103"/>
                <a:gd name="T34" fmla="*/ 18 w 108"/>
                <a:gd name="T35" fmla="*/ 98 h 103"/>
                <a:gd name="T36" fmla="*/ 2 w 108"/>
                <a:gd name="T37" fmla="*/ 96 h 103"/>
                <a:gd name="T38" fmla="*/ 0 w 108"/>
                <a:gd name="T39" fmla="*/ 90 h 103"/>
                <a:gd name="T40" fmla="*/ 8 w 108"/>
                <a:gd name="T41" fmla="*/ 78 h 103"/>
                <a:gd name="T42" fmla="*/ 23 w 108"/>
                <a:gd name="T43" fmla="*/ 61 h 103"/>
                <a:gd name="T44" fmla="*/ 35 w 108"/>
                <a:gd name="T45" fmla="*/ 57 h 103"/>
                <a:gd name="T46" fmla="*/ 44 w 108"/>
                <a:gd name="T47" fmla="*/ 52 h 103"/>
                <a:gd name="T48" fmla="*/ 56 w 108"/>
                <a:gd name="T49" fmla="*/ 42 h 103"/>
                <a:gd name="T50" fmla="*/ 64 w 108"/>
                <a:gd name="T51" fmla="*/ 32 h 103"/>
                <a:gd name="T52" fmla="*/ 71 w 108"/>
                <a:gd name="T53" fmla="*/ 21 h 103"/>
                <a:gd name="T54" fmla="*/ 75 w 108"/>
                <a:gd name="T55" fmla="*/ 17 h 103"/>
                <a:gd name="T56" fmla="*/ 77 w 108"/>
                <a:gd name="T57" fmla="*/ 7 h 103"/>
                <a:gd name="T58" fmla="*/ 87 w 108"/>
                <a:gd name="T59"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08" h="103">
                  <a:moveTo>
                    <a:pt x="87" y="0"/>
                  </a:moveTo>
                  <a:lnTo>
                    <a:pt x="90" y="6"/>
                  </a:lnTo>
                  <a:lnTo>
                    <a:pt x="94" y="13"/>
                  </a:lnTo>
                  <a:lnTo>
                    <a:pt x="104" y="6"/>
                  </a:lnTo>
                  <a:lnTo>
                    <a:pt x="108" y="15"/>
                  </a:lnTo>
                  <a:lnTo>
                    <a:pt x="108" y="21"/>
                  </a:lnTo>
                  <a:lnTo>
                    <a:pt x="102" y="27"/>
                  </a:lnTo>
                  <a:lnTo>
                    <a:pt x="92" y="42"/>
                  </a:lnTo>
                  <a:lnTo>
                    <a:pt x="85" y="48"/>
                  </a:lnTo>
                  <a:lnTo>
                    <a:pt x="90" y="55"/>
                  </a:lnTo>
                  <a:lnTo>
                    <a:pt x="81" y="55"/>
                  </a:lnTo>
                  <a:lnTo>
                    <a:pt x="69" y="63"/>
                  </a:lnTo>
                  <a:lnTo>
                    <a:pt x="64" y="73"/>
                  </a:lnTo>
                  <a:lnTo>
                    <a:pt x="58" y="92"/>
                  </a:lnTo>
                  <a:lnTo>
                    <a:pt x="46" y="100"/>
                  </a:lnTo>
                  <a:lnTo>
                    <a:pt x="39" y="103"/>
                  </a:lnTo>
                  <a:lnTo>
                    <a:pt x="25" y="103"/>
                  </a:lnTo>
                  <a:lnTo>
                    <a:pt x="18" y="98"/>
                  </a:lnTo>
                  <a:lnTo>
                    <a:pt x="2" y="96"/>
                  </a:lnTo>
                  <a:lnTo>
                    <a:pt x="0" y="90"/>
                  </a:lnTo>
                  <a:lnTo>
                    <a:pt x="8" y="78"/>
                  </a:lnTo>
                  <a:lnTo>
                    <a:pt x="23" y="61"/>
                  </a:lnTo>
                  <a:lnTo>
                    <a:pt x="35" y="57"/>
                  </a:lnTo>
                  <a:lnTo>
                    <a:pt x="44" y="52"/>
                  </a:lnTo>
                  <a:lnTo>
                    <a:pt x="56" y="42"/>
                  </a:lnTo>
                  <a:lnTo>
                    <a:pt x="64" y="32"/>
                  </a:lnTo>
                  <a:lnTo>
                    <a:pt x="71" y="21"/>
                  </a:lnTo>
                  <a:lnTo>
                    <a:pt x="75" y="17"/>
                  </a:lnTo>
                  <a:lnTo>
                    <a:pt x="77" y="7"/>
                  </a:lnTo>
                  <a:lnTo>
                    <a:pt x="87" y="0"/>
                  </a:lnTo>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58" name="Freeform 17">
              <a:extLst>
                <a:ext uri="{FF2B5EF4-FFF2-40B4-BE49-F238E27FC236}">
                  <a16:creationId xmlns:a16="http://schemas.microsoft.com/office/drawing/2014/main" id="{19666F15-4AB6-7243-F637-71D86F3F34CE}"/>
                </a:ext>
              </a:extLst>
            </p:cNvPr>
            <p:cNvSpPr>
              <a:spLocks/>
            </p:cNvSpPr>
            <p:nvPr/>
          </p:nvSpPr>
          <p:spPr bwMode="auto">
            <a:xfrm>
              <a:off x="8186737" y="5294135"/>
              <a:ext cx="127000" cy="185822"/>
            </a:xfrm>
            <a:custGeom>
              <a:avLst/>
              <a:gdLst>
                <a:gd name="T0" fmla="*/ 5 w 80"/>
                <a:gd name="T1" fmla="*/ 0 h 117"/>
                <a:gd name="T2" fmla="*/ 13 w 80"/>
                <a:gd name="T3" fmla="*/ 10 h 117"/>
                <a:gd name="T4" fmla="*/ 25 w 80"/>
                <a:gd name="T5" fmla="*/ 13 h 117"/>
                <a:gd name="T6" fmla="*/ 27 w 80"/>
                <a:gd name="T7" fmla="*/ 27 h 117"/>
                <a:gd name="T8" fmla="*/ 36 w 80"/>
                <a:gd name="T9" fmla="*/ 44 h 117"/>
                <a:gd name="T10" fmla="*/ 36 w 80"/>
                <a:gd name="T11" fmla="*/ 34 h 117"/>
                <a:gd name="T12" fmla="*/ 44 w 80"/>
                <a:gd name="T13" fmla="*/ 38 h 117"/>
                <a:gd name="T14" fmla="*/ 46 w 80"/>
                <a:gd name="T15" fmla="*/ 50 h 117"/>
                <a:gd name="T16" fmla="*/ 57 w 80"/>
                <a:gd name="T17" fmla="*/ 56 h 117"/>
                <a:gd name="T18" fmla="*/ 67 w 80"/>
                <a:gd name="T19" fmla="*/ 56 h 117"/>
                <a:gd name="T20" fmla="*/ 75 w 80"/>
                <a:gd name="T21" fmla="*/ 50 h 117"/>
                <a:gd name="T22" fmla="*/ 80 w 80"/>
                <a:gd name="T23" fmla="*/ 52 h 117"/>
                <a:gd name="T24" fmla="*/ 76 w 80"/>
                <a:gd name="T25" fmla="*/ 65 h 117"/>
                <a:gd name="T26" fmla="*/ 75 w 80"/>
                <a:gd name="T27" fmla="*/ 77 h 117"/>
                <a:gd name="T28" fmla="*/ 65 w 80"/>
                <a:gd name="T29" fmla="*/ 77 h 117"/>
                <a:gd name="T30" fmla="*/ 59 w 80"/>
                <a:gd name="T31" fmla="*/ 81 h 117"/>
                <a:gd name="T32" fmla="*/ 61 w 80"/>
                <a:gd name="T33" fmla="*/ 86 h 117"/>
                <a:gd name="T34" fmla="*/ 59 w 80"/>
                <a:gd name="T35" fmla="*/ 90 h 117"/>
                <a:gd name="T36" fmla="*/ 55 w 80"/>
                <a:gd name="T37" fmla="*/ 98 h 117"/>
                <a:gd name="T38" fmla="*/ 48 w 80"/>
                <a:gd name="T39" fmla="*/ 111 h 117"/>
                <a:gd name="T40" fmla="*/ 36 w 80"/>
                <a:gd name="T41" fmla="*/ 117 h 117"/>
                <a:gd name="T42" fmla="*/ 34 w 80"/>
                <a:gd name="T43" fmla="*/ 113 h 117"/>
                <a:gd name="T44" fmla="*/ 27 w 80"/>
                <a:gd name="T45" fmla="*/ 111 h 117"/>
                <a:gd name="T46" fmla="*/ 36 w 80"/>
                <a:gd name="T47" fmla="*/ 98 h 117"/>
                <a:gd name="T48" fmla="*/ 30 w 80"/>
                <a:gd name="T49" fmla="*/ 86 h 117"/>
                <a:gd name="T50" fmla="*/ 15 w 80"/>
                <a:gd name="T51" fmla="*/ 82 h 117"/>
                <a:gd name="T52" fmla="*/ 17 w 80"/>
                <a:gd name="T53" fmla="*/ 77 h 117"/>
                <a:gd name="T54" fmla="*/ 27 w 80"/>
                <a:gd name="T55" fmla="*/ 71 h 117"/>
                <a:gd name="T56" fmla="*/ 28 w 80"/>
                <a:gd name="T57" fmla="*/ 57 h 117"/>
                <a:gd name="T58" fmla="*/ 28 w 80"/>
                <a:gd name="T59" fmla="*/ 48 h 117"/>
                <a:gd name="T60" fmla="*/ 23 w 80"/>
                <a:gd name="T61" fmla="*/ 36 h 117"/>
                <a:gd name="T62" fmla="*/ 25 w 80"/>
                <a:gd name="T63" fmla="*/ 34 h 117"/>
                <a:gd name="T64" fmla="*/ 17 w 80"/>
                <a:gd name="T65" fmla="*/ 27 h 117"/>
                <a:gd name="T66" fmla="*/ 5 w 80"/>
                <a:gd name="T67" fmla="*/ 11 h 117"/>
                <a:gd name="T68" fmla="*/ 0 w 80"/>
                <a:gd name="T69" fmla="*/ 2 h 117"/>
                <a:gd name="T70" fmla="*/ 5 w 80"/>
                <a:gd name="T71" fmla="*/ 0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80" h="117">
                  <a:moveTo>
                    <a:pt x="5" y="0"/>
                  </a:moveTo>
                  <a:lnTo>
                    <a:pt x="13" y="10"/>
                  </a:lnTo>
                  <a:lnTo>
                    <a:pt x="25" y="13"/>
                  </a:lnTo>
                  <a:lnTo>
                    <a:pt x="27" y="27"/>
                  </a:lnTo>
                  <a:lnTo>
                    <a:pt x="36" y="44"/>
                  </a:lnTo>
                  <a:lnTo>
                    <a:pt x="36" y="34"/>
                  </a:lnTo>
                  <a:lnTo>
                    <a:pt x="44" y="38"/>
                  </a:lnTo>
                  <a:lnTo>
                    <a:pt x="46" y="50"/>
                  </a:lnTo>
                  <a:lnTo>
                    <a:pt x="57" y="56"/>
                  </a:lnTo>
                  <a:lnTo>
                    <a:pt x="67" y="56"/>
                  </a:lnTo>
                  <a:lnTo>
                    <a:pt x="75" y="50"/>
                  </a:lnTo>
                  <a:lnTo>
                    <a:pt x="80" y="52"/>
                  </a:lnTo>
                  <a:lnTo>
                    <a:pt x="76" y="65"/>
                  </a:lnTo>
                  <a:lnTo>
                    <a:pt x="75" y="77"/>
                  </a:lnTo>
                  <a:lnTo>
                    <a:pt x="65" y="77"/>
                  </a:lnTo>
                  <a:lnTo>
                    <a:pt x="59" y="81"/>
                  </a:lnTo>
                  <a:lnTo>
                    <a:pt x="61" y="86"/>
                  </a:lnTo>
                  <a:lnTo>
                    <a:pt x="59" y="90"/>
                  </a:lnTo>
                  <a:lnTo>
                    <a:pt x="55" y="98"/>
                  </a:lnTo>
                  <a:lnTo>
                    <a:pt x="48" y="111"/>
                  </a:lnTo>
                  <a:lnTo>
                    <a:pt x="36" y="117"/>
                  </a:lnTo>
                  <a:lnTo>
                    <a:pt x="34" y="113"/>
                  </a:lnTo>
                  <a:lnTo>
                    <a:pt x="27" y="111"/>
                  </a:lnTo>
                  <a:lnTo>
                    <a:pt x="36" y="98"/>
                  </a:lnTo>
                  <a:lnTo>
                    <a:pt x="30" y="86"/>
                  </a:lnTo>
                  <a:lnTo>
                    <a:pt x="15" y="82"/>
                  </a:lnTo>
                  <a:lnTo>
                    <a:pt x="17" y="77"/>
                  </a:lnTo>
                  <a:lnTo>
                    <a:pt x="27" y="71"/>
                  </a:lnTo>
                  <a:lnTo>
                    <a:pt x="28" y="57"/>
                  </a:lnTo>
                  <a:lnTo>
                    <a:pt x="28" y="48"/>
                  </a:lnTo>
                  <a:lnTo>
                    <a:pt x="23" y="36"/>
                  </a:lnTo>
                  <a:lnTo>
                    <a:pt x="25" y="34"/>
                  </a:lnTo>
                  <a:lnTo>
                    <a:pt x="17" y="27"/>
                  </a:lnTo>
                  <a:lnTo>
                    <a:pt x="5" y="11"/>
                  </a:lnTo>
                  <a:lnTo>
                    <a:pt x="0" y="2"/>
                  </a:lnTo>
                  <a:lnTo>
                    <a:pt x="5" y="0"/>
                  </a:lnTo>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59" name="Freeform 19">
              <a:extLst>
                <a:ext uri="{FF2B5EF4-FFF2-40B4-BE49-F238E27FC236}">
                  <a16:creationId xmlns:a16="http://schemas.microsoft.com/office/drawing/2014/main" id="{05AA6F39-FEA4-0344-E0C9-F8DBF1D1F7C0}"/>
                </a:ext>
              </a:extLst>
            </p:cNvPr>
            <p:cNvSpPr>
              <a:spLocks/>
            </p:cNvSpPr>
            <p:nvPr/>
          </p:nvSpPr>
          <p:spPr bwMode="auto">
            <a:xfrm>
              <a:off x="7997825" y="4952668"/>
              <a:ext cx="66675" cy="52412"/>
            </a:xfrm>
            <a:custGeom>
              <a:avLst/>
              <a:gdLst>
                <a:gd name="T0" fmla="*/ 0 w 42"/>
                <a:gd name="T1" fmla="*/ 0 h 33"/>
                <a:gd name="T2" fmla="*/ 4 w 42"/>
                <a:gd name="T3" fmla="*/ 0 h 33"/>
                <a:gd name="T4" fmla="*/ 13 w 42"/>
                <a:gd name="T5" fmla="*/ 6 h 33"/>
                <a:gd name="T6" fmla="*/ 19 w 42"/>
                <a:gd name="T7" fmla="*/ 10 h 33"/>
                <a:gd name="T8" fmla="*/ 23 w 42"/>
                <a:gd name="T9" fmla="*/ 15 h 33"/>
                <a:gd name="T10" fmla="*/ 34 w 42"/>
                <a:gd name="T11" fmla="*/ 23 h 33"/>
                <a:gd name="T12" fmla="*/ 42 w 42"/>
                <a:gd name="T13" fmla="*/ 29 h 33"/>
                <a:gd name="T14" fmla="*/ 36 w 42"/>
                <a:gd name="T15" fmla="*/ 33 h 33"/>
                <a:gd name="T16" fmla="*/ 30 w 42"/>
                <a:gd name="T17" fmla="*/ 29 h 33"/>
                <a:gd name="T18" fmla="*/ 19 w 42"/>
                <a:gd name="T19" fmla="*/ 23 h 33"/>
                <a:gd name="T20" fmla="*/ 11 w 42"/>
                <a:gd name="T21" fmla="*/ 15 h 33"/>
                <a:gd name="T22" fmla="*/ 2 w 42"/>
                <a:gd name="T23" fmla="*/ 6 h 33"/>
                <a:gd name="T24" fmla="*/ 0 w 42"/>
                <a:gd name="T25" fmla="*/ 0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 h="33">
                  <a:moveTo>
                    <a:pt x="0" y="0"/>
                  </a:moveTo>
                  <a:lnTo>
                    <a:pt x="4" y="0"/>
                  </a:lnTo>
                  <a:lnTo>
                    <a:pt x="13" y="6"/>
                  </a:lnTo>
                  <a:lnTo>
                    <a:pt x="19" y="10"/>
                  </a:lnTo>
                  <a:lnTo>
                    <a:pt x="23" y="15"/>
                  </a:lnTo>
                  <a:lnTo>
                    <a:pt x="34" y="23"/>
                  </a:lnTo>
                  <a:lnTo>
                    <a:pt x="42" y="29"/>
                  </a:lnTo>
                  <a:lnTo>
                    <a:pt x="36" y="33"/>
                  </a:lnTo>
                  <a:lnTo>
                    <a:pt x="30" y="29"/>
                  </a:lnTo>
                  <a:lnTo>
                    <a:pt x="19" y="23"/>
                  </a:lnTo>
                  <a:lnTo>
                    <a:pt x="11" y="15"/>
                  </a:lnTo>
                  <a:lnTo>
                    <a:pt x="2" y="6"/>
                  </a:lnTo>
                  <a:lnTo>
                    <a:pt x="0" y="0"/>
                  </a:lnTo>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60" name="Freeform 21">
              <a:extLst>
                <a:ext uri="{FF2B5EF4-FFF2-40B4-BE49-F238E27FC236}">
                  <a16:creationId xmlns:a16="http://schemas.microsoft.com/office/drawing/2014/main" id="{323662C0-2AB7-D15F-E114-0DCA181D81E3}"/>
                </a:ext>
              </a:extLst>
            </p:cNvPr>
            <p:cNvSpPr>
              <a:spLocks/>
            </p:cNvSpPr>
            <p:nvPr/>
          </p:nvSpPr>
          <p:spPr bwMode="auto">
            <a:xfrm>
              <a:off x="8289925" y="4889139"/>
              <a:ext cx="30163" cy="20647"/>
            </a:xfrm>
            <a:custGeom>
              <a:avLst/>
              <a:gdLst>
                <a:gd name="T0" fmla="*/ 13 w 19"/>
                <a:gd name="T1" fmla="*/ 0 h 13"/>
                <a:gd name="T2" fmla="*/ 19 w 19"/>
                <a:gd name="T3" fmla="*/ 4 h 13"/>
                <a:gd name="T4" fmla="*/ 17 w 19"/>
                <a:gd name="T5" fmla="*/ 11 h 13"/>
                <a:gd name="T6" fmla="*/ 10 w 19"/>
                <a:gd name="T7" fmla="*/ 13 h 13"/>
                <a:gd name="T8" fmla="*/ 0 w 19"/>
                <a:gd name="T9" fmla="*/ 11 h 13"/>
                <a:gd name="T10" fmla="*/ 0 w 19"/>
                <a:gd name="T11" fmla="*/ 5 h 13"/>
                <a:gd name="T12" fmla="*/ 4 w 19"/>
                <a:gd name="T13" fmla="*/ 2 h 13"/>
                <a:gd name="T14" fmla="*/ 11 w 19"/>
                <a:gd name="T15" fmla="*/ 4 h 13"/>
                <a:gd name="T16" fmla="*/ 13 w 19"/>
                <a:gd name="T17"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3">
                  <a:moveTo>
                    <a:pt x="13" y="0"/>
                  </a:moveTo>
                  <a:lnTo>
                    <a:pt x="19" y="4"/>
                  </a:lnTo>
                  <a:lnTo>
                    <a:pt x="17" y="11"/>
                  </a:lnTo>
                  <a:lnTo>
                    <a:pt x="10" y="13"/>
                  </a:lnTo>
                  <a:lnTo>
                    <a:pt x="0" y="11"/>
                  </a:lnTo>
                  <a:lnTo>
                    <a:pt x="0" y="5"/>
                  </a:lnTo>
                  <a:lnTo>
                    <a:pt x="4" y="2"/>
                  </a:lnTo>
                  <a:lnTo>
                    <a:pt x="11" y="4"/>
                  </a:lnTo>
                  <a:lnTo>
                    <a:pt x="13" y="0"/>
                  </a:lnTo>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61" name="Freeform 23">
              <a:extLst>
                <a:ext uri="{FF2B5EF4-FFF2-40B4-BE49-F238E27FC236}">
                  <a16:creationId xmlns:a16="http://schemas.microsoft.com/office/drawing/2014/main" id="{2EFF313B-D4CD-8B66-F585-0F061BC9406E}"/>
                </a:ext>
              </a:extLst>
            </p:cNvPr>
            <p:cNvSpPr>
              <a:spLocks/>
            </p:cNvSpPr>
            <p:nvPr/>
          </p:nvSpPr>
          <p:spPr bwMode="auto">
            <a:xfrm>
              <a:off x="8316912" y="4860551"/>
              <a:ext cx="36513" cy="22235"/>
            </a:xfrm>
            <a:custGeom>
              <a:avLst/>
              <a:gdLst>
                <a:gd name="T0" fmla="*/ 23 w 23"/>
                <a:gd name="T1" fmla="*/ 0 h 14"/>
                <a:gd name="T2" fmla="*/ 21 w 23"/>
                <a:gd name="T3" fmla="*/ 8 h 14"/>
                <a:gd name="T4" fmla="*/ 12 w 23"/>
                <a:gd name="T5" fmla="*/ 10 h 14"/>
                <a:gd name="T6" fmla="*/ 2 w 23"/>
                <a:gd name="T7" fmla="*/ 14 h 14"/>
                <a:gd name="T8" fmla="*/ 0 w 23"/>
                <a:gd name="T9" fmla="*/ 8 h 14"/>
                <a:gd name="T10" fmla="*/ 8 w 23"/>
                <a:gd name="T11" fmla="*/ 6 h 14"/>
                <a:gd name="T12" fmla="*/ 12 w 23"/>
                <a:gd name="T13" fmla="*/ 4 h 14"/>
                <a:gd name="T14" fmla="*/ 21 w 23"/>
                <a:gd name="T15" fmla="*/ 0 h 14"/>
                <a:gd name="T16" fmla="*/ 23 w 23"/>
                <a:gd name="T17"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 h="14">
                  <a:moveTo>
                    <a:pt x="23" y="0"/>
                  </a:moveTo>
                  <a:lnTo>
                    <a:pt x="21" y="8"/>
                  </a:lnTo>
                  <a:lnTo>
                    <a:pt x="12" y="10"/>
                  </a:lnTo>
                  <a:lnTo>
                    <a:pt x="2" y="14"/>
                  </a:lnTo>
                  <a:lnTo>
                    <a:pt x="0" y="8"/>
                  </a:lnTo>
                  <a:lnTo>
                    <a:pt x="8" y="6"/>
                  </a:lnTo>
                  <a:lnTo>
                    <a:pt x="12" y="4"/>
                  </a:lnTo>
                  <a:lnTo>
                    <a:pt x="21" y="0"/>
                  </a:lnTo>
                  <a:lnTo>
                    <a:pt x="23" y="0"/>
                  </a:lnTo>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62" name="Freeform 25">
              <a:extLst>
                <a:ext uri="{FF2B5EF4-FFF2-40B4-BE49-F238E27FC236}">
                  <a16:creationId xmlns:a16="http://schemas.microsoft.com/office/drawing/2014/main" id="{7B67D329-DA54-3DD6-130D-F9A652FCA769}"/>
                </a:ext>
              </a:extLst>
            </p:cNvPr>
            <p:cNvSpPr>
              <a:spLocks/>
            </p:cNvSpPr>
            <p:nvPr/>
          </p:nvSpPr>
          <p:spPr bwMode="auto">
            <a:xfrm>
              <a:off x="8064500" y="4857375"/>
              <a:ext cx="15875" cy="15882"/>
            </a:xfrm>
            <a:custGeom>
              <a:avLst/>
              <a:gdLst>
                <a:gd name="T0" fmla="*/ 0 w 10"/>
                <a:gd name="T1" fmla="*/ 0 h 10"/>
                <a:gd name="T2" fmla="*/ 10 w 10"/>
                <a:gd name="T3" fmla="*/ 8 h 10"/>
                <a:gd name="T4" fmla="*/ 6 w 10"/>
                <a:gd name="T5" fmla="*/ 10 h 10"/>
                <a:gd name="T6" fmla="*/ 0 w 10"/>
                <a:gd name="T7" fmla="*/ 2 h 10"/>
                <a:gd name="T8" fmla="*/ 0 w 10"/>
                <a:gd name="T9" fmla="*/ 0 h 10"/>
              </a:gdLst>
              <a:ahLst/>
              <a:cxnLst>
                <a:cxn ang="0">
                  <a:pos x="T0" y="T1"/>
                </a:cxn>
                <a:cxn ang="0">
                  <a:pos x="T2" y="T3"/>
                </a:cxn>
                <a:cxn ang="0">
                  <a:pos x="T4" y="T5"/>
                </a:cxn>
                <a:cxn ang="0">
                  <a:pos x="T6" y="T7"/>
                </a:cxn>
                <a:cxn ang="0">
                  <a:pos x="T8" y="T9"/>
                </a:cxn>
              </a:cxnLst>
              <a:rect l="0" t="0" r="r" b="b"/>
              <a:pathLst>
                <a:path w="10" h="10">
                  <a:moveTo>
                    <a:pt x="0" y="0"/>
                  </a:moveTo>
                  <a:lnTo>
                    <a:pt x="10" y="8"/>
                  </a:lnTo>
                  <a:lnTo>
                    <a:pt x="6" y="10"/>
                  </a:lnTo>
                  <a:lnTo>
                    <a:pt x="0" y="2"/>
                  </a:lnTo>
                  <a:lnTo>
                    <a:pt x="0" y="0"/>
                  </a:lnTo>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63" name="Freeform 27">
              <a:extLst>
                <a:ext uri="{FF2B5EF4-FFF2-40B4-BE49-F238E27FC236}">
                  <a16:creationId xmlns:a16="http://schemas.microsoft.com/office/drawing/2014/main" id="{29538F3F-186C-B66E-7E9C-47DD21CFCB2E}"/>
                </a:ext>
              </a:extLst>
            </p:cNvPr>
            <p:cNvSpPr>
              <a:spLocks/>
            </p:cNvSpPr>
            <p:nvPr/>
          </p:nvSpPr>
          <p:spPr bwMode="auto">
            <a:xfrm>
              <a:off x="8054975" y="4827199"/>
              <a:ext cx="12700" cy="28588"/>
            </a:xfrm>
            <a:custGeom>
              <a:avLst/>
              <a:gdLst>
                <a:gd name="T0" fmla="*/ 0 w 8"/>
                <a:gd name="T1" fmla="*/ 0 h 18"/>
                <a:gd name="T2" fmla="*/ 6 w 8"/>
                <a:gd name="T3" fmla="*/ 4 h 18"/>
                <a:gd name="T4" fmla="*/ 8 w 8"/>
                <a:gd name="T5" fmla="*/ 18 h 18"/>
                <a:gd name="T6" fmla="*/ 6 w 8"/>
                <a:gd name="T7" fmla="*/ 16 h 18"/>
                <a:gd name="T8" fmla="*/ 2 w 8"/>
                <a:gd name="T9" fmla="*/ 16 h 18"/>
                <a:gd name="T10" fmla="*/ 0 w 8"/>
                <a:gd name="T11" fmla="*/ 12 h 18"/>
                <a:gd name="T12" fmla="*/ 0 w 8"/>
                <a:gd name="T13" fmla="*/ 0 h 18"/>
              </a:gdLst>
              <a:ahLst/>
              <a:cxnLst>
                <a:cxn ang="0">
                  <a:pos x="T0" y="T1"/>
                </a:cxn>
                <a:cxn ang="0">
                  <a:pos x="T2" y="T3"/>
                </a:cxn>
                <a:cxn ang="0">
                  <a:pos x="T4" y="T5"/>
                </a:cxn>
                <a:cxn ang="0">
                  <a:pos x="T6" y="T7"/>
                </a:cxn>
                <a:cxn ang="0">
                  <a:pos x="T8" y="T9"/>
                </a:cxn>
                <a:cxn ang="0">
                  <a:pos x="T10" y="T11"/>
                </a:cxn>
                <a:cxn ang="0">
                  <a:pos x="T12" y="T13"/>
                </a:cxn>
              </a:cxnLst>
              <a:rect l="0" t="0" r="r" b="b"/>
              <a:pathLst>
                <a:path w="8" h="18">
                  <a:moveTo>
                    <a:pt x="0" y="0"/>
                  </a:moveTo>
                  <a:lnTo>
                    <a:pt x="6" y="4"/>
                  </a:lnTo>
                  <a:lnTo>
                    <a:pt x="8" y="18"/>
                  </a:lnTo>
                  <a:lnTo>
                    <a:pt x="6" y="16"/>
                  </a:lnTo>
                  <a:lnTo>
                    <a:pt x="2" y="16"/>
                  </a:lnTo>
                  <a:lnTo>
                    <a:pt x="0" y="12"/>
                  </a:lnTo>
                  <a:lnTo>
                    <a:pt x="0" y="0"/>
                  </a:lnTo>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64" name="Freeform 29">
              <a:extLst>
                <a:ext uri="{FF2B5EF4-FFF2-40B4-BE49-F238E27FC236}">
                  <a16:creationId xmlns:a16="http://schemas.microsoft.com/office/drawing/2014/main" id="{6ABF6587-6C99-8D86-83FC-0D069959F7F5}"/>
                </a:ext>
              </a:extLst>
            </p:cNvPr>
            <p:cNvSpPr>
              <a:spLocks/>
            </p:cNvSpPr>
            <p:nvPr/>
          </p:nvSpPr>
          <p:spPr bwMode="auto">
            <a:xfrm>
              <a:off x="5326063" y="4770023"/>
              <a:ext cx="158750" cy="311291"/>
            </a:xfrm>
            <a:custGeom>
              <a:avLst/>
              <a:gdLst>
                <a:gd name="T0" fmla="*/ 82 w 100"/>
                <a:gd name="T1" fmla="*/ 0 h 196"/>
                <a:gd name="T2" fmla="*/ 86 w 100"/>
                <a:gd name="T3" fmla="*/ 6 h 196"/>
                <a:gd name="T4" fmla="*/ 92 w 100"/>
                <a:gd name="T5" fmla="*/ 11 h 196"/>
                <a:gd name="T6" fmla="*/ 94 w 100"/>
                <a:gd name="T7" fmla="*/ 21 h 196"/>
                <a:gd name="T8" fmla="*/ 96 w 100"/>
                <a:gd name="T9" fmla="*/ 38 h 196"/>
                <a:gd name="T10" fmla="*/ 100 w 100"/>
                <a:gd name="T11" fmla="*/ 44 h 196"/>
                <a:gd name="T12" fmla="*/ 98 w 100"/>
                <a:gd name="T13" fmla="*/ 52 h 196"/>
                <a:gd name="T14" fmla="*/ 96 w 100"/>
                <a:gd name="T15" fmla="*/ 57 h 196"/>
                <a:gd name="T16" fmla="*/ 92 w 100"/>
                <a:gd name="T17" fmla="*/ 48 h 196"/>
                <a:gd name="T18" fmla="*/ 88 w 100"/>
                <a:gd name="T19" fmla="*/ 52 h 196"/>
                <a:gd name="T20" fmla="*/ 92 w 100"/>
                <a:gd name="T21" fmla="*/ 63 h 196"/>
                <a:gd name="T22" fmla="*/ 90 w 100"/>
                <a:gd name="T23" fmla="*/ 67 h 196"/>
                <a:gd name="T24" fmla="*/ 86 w 100"/>
                <a:gd name="T25" fmla="*/ 71 h 196"/>
                <a:gd name="T26" fmla="*/ 84 w 100"/>
                <a:gd name="T27" fmla="*/ 84 h 196"/>
                <a:gd name="T28" fmla="*/ 81 w 100"/>
                <a:gd name="T29" fmla="*/ 102 h 196"/>
                <a:gd name="T30" fmla="*/ 73 w 100"/>
                <a:gd name="T31" fmla="*/ 121 h 196"/>
                <a:gd name="T32" fmla="*/ 63 w 100"/>
                <a:gd name="T33" fmla="*/ 148 h 196"/>
                <a:gd name="T34" fmla="*/ 59 w 100"/>
                <a:gd name="T35" fmla="*/ 169 h 196"/>
                <a:gd name="T36" fmla="*/ 54 w 100"/>
                <a:gd name="T37" fmla="*/ 184 h 196"/>
                <a:gd name="T38" fmla="*/ 40 w 100"/>
                <a:gd name="T39" fmla="*/ 190 h 196"/>
                <a:gd name="T40" fmla="*/ 29 w 100"/>
                <a:gd name="T41" fmla="*/ 196 h 196"/>
                <a:gd name="T42" fmla="*/ 21 w 100"/>
                <a:gd name="T43" fmla="*/ 192 h 196"/>
                <a:gd name="T44" fmla="*/ 11 w 100"/>
                <a:gd name="T45" fmla="*/ 186 h 196"/>
                <a:gd name="T46" fmla="*/ 6 w 100"/>
                <a:gd name="T47" fmla="*/ 178 h 196"/>
                <a:gd name="T48" fmla="*/ 6 w 100"/>
                <a:gd name="T49" fmla="*/ 165 h 196"/>
                <a:gd name="T50" fmla="*/ 0 w 100"/>
                <a:gd name="T51" fmla="*/ 153 h 196"/>
                <a:gd name="T52" fmla="*/ 0 w 100"/>
                <a:gd name="T53" fmla="*/ 142 h 196"/>
                <a:gd name="T54" fmla="*/ 0 w 100"/>
                <a:gd name="T55" fmla="*/ 132 h 196"/>
                <a:gd name="T56" fmla="*/ 8 w 100"/>
                <a:gd name="T57" fmla="*/ 130 h 196"/>
                <a:gd name="T58" fmla="*/ 8 w 100"/>
                <a:gd name="T59" fmla="*/ 128 h 196"/>
                <a:gd name="T60" fmla="*/ 8 w 100"/>
                <a:gd name="T61" fmla="*/ 125 h 196"/>
                <a:gd name="T62" fmla="*/ 15 w 100"/>
                <a:gd name="T63" fmla="*/ 115 h 196"/>
                <a:gd name="T64" fmla="*/ 15 w 100"/>
                <a:gd name="T65" fmla="*/ 103 h 196"/>
                <a:gd name="T66" fmla="*/ 13 w 100"/>
                <a:gd name="T67" fmla="*/ 98 h 196"/>
                <a:gd name="T68" fmla="*/ 11 w 100"/>
                <a:gd name="T69" fmla="*/ 90 h 196"/>
                <a:gd name="T70" fmla="*/ 10 w 100"/>
                <a:gd name="T71" fmla="*/ 77 h 196"/>
                <a:gd name="T72" fmla="*/ 15 w 100"/>
                <a:gd name="T73" fmla="*/ 67 h 196"/>
                <a:gd name="T74" fmla="*/ 15 w 100"/>
                <a:gd name="T75" fmla="*/ 59 h 196"/>
                <a:gd name="T76" fmla="*/ 23 w 100"/>
                <a:gd name="T77" fmla="*/ 57 h 196"/>
                <a:gd name="T78" fmla="*/ 31 w 100"/>
                <a:gd name="T79" fmla="*/ 57 h 196"/>
                <a:gd name="T80" fmla="*/ 36 w 100"/>
                <a:gd name="T81" fmla="*/ 54 h 196"/>
                <a:gd name="T82" fmla="*/ 40 w 100"/>
                <a:gd name="T83" fmla="*/ 54 h 196"/>
                <a:gd name="T84" fmla="*/ 50 w 100"/>
                <a:gd name="T85" fmla="*/ 44 h 196"/>
                <a:gd name="T86" fmla="*/ 61 w 100"/>
                <a:gd name="T87" fmla="*/ 36 h 196"/>
                <a:gd name="T88" fmla="*/ 65 w 100"/>
                <a:gd name="T89" fmla="*/ 29 h 196"/>
                <a:gd name="T90" fmla="*/ 63 w 100"/>
                <a:gd name="T91" fmla="*/ 23 h 196"/>
                <a:gd name="T92" fmla="*/ 69 w 100"/>
                <a:gd name="T93" fmla="*/ 25 h 196"/>
                <a:gd name="T94" fmla="*/ 79 w 100"/>
                <a:gd name="T95" fmla="*/ 15 h 196"/>
                <a:gd name="T96" fmla="*/ 79 w 100"/>
                <a:gd name="T97" fmla="*/ 6 h 196"/>
                <a:gd name="T98" fmla="*/ 82 w 100"/>
                <a:gd name="T99" fmla="*/ 0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00" h="196">
                  <a:moveTo>
                    <a:pt x="82" y="0"/>
                  </a:moveTo>
                  <a:lnTo>
                    <a:pt x="86" y="6"/>
                  </a:lnTo>
                  <a:lnTo>
                    <a:pt x="92" y="11"/>
                  </a:lnTo>
                  <a:lnTo>
                    <a:pt x="94" y="21"/>
                  </a:lnTo>
                  <a:lnTo>
                    <a:pt x="96" y="38"/>
                  </a:lnTo>
                  <a:lnTo>
                    <a:pt x="100" y="44"/>
                  </a:lnTo>
                  <a:lnTo>
                    <a:pt x="98" y="52"/>
                  </a:lnTo>
                  <a:lnTo>
                    <a:pt x="96" y="57"/>
                  </a:lnTo>
                  <a:lnTo>
                    <a:pt x="92" y="48"/>
                  </a:lnTo>
                  <a:lnTo>
                    <a:pt x="88" y="52"/>
                  </a:lnTo>
                  <a:lnTo>
                    <a:pt x="92" y="63"/>
                  </a:lnTo>
                  <a:lnTo>
                    <a:pt x="90" y="67"/>
                  </a:lnTo>
                  <a:lnTo>
                    <a:pt x="86" y="71"/>
                  </a:lnTo>
                  <a:lnTo>
                    <a:pt x="84" y="84"/>
                  </a:lnTo>
                  <a:lnTo>
                    <a:pt x="81" y="102"/>
                  </a:lnTo>
                  <a:lnTo>
                    <a:pt x="73" y="121"/>
                  </a:lnTo>
                  <a:lnTo>
                    <a:pt x="63" y="148"/>
                  </a:lnTo>
                  <a:lnTo>
                    <a:pt x="59" y="169"/>
                  </a:lnTo>
                  <a:lnTo>
                    <a:pt x="54" y="184"/>
                  </a:lnTo>
                  <a:lnTo>
                    <a:pt x="40" y="190"/>
                  </a:lnTo>
                  <a:lnTo>
                    <a:pt x="29" y="196"/>
                  </a:lnTo>
                  <a:lnTo>
                    <a:pt x="21" y="192"/>
                  </a:lnTo>
                  <a:lnTo>
                    <a:pt x="11" y="186"/>
                  </a:lnTo>
                  <a:lnTo>
                    <a:pt x="6" y="178"/>
                  </a:lnTo>
                  <a:lnTo>
                    <a:pt x="6" y="165"/>
                  </a:lnTo>
                  <a:lnTo>
                    <a:pt x="0" y="153"/>
                  </a:lnTo>
                  <a:lnTo>
                    <a:pt x="0" y="142"/>
                  </a:lnTo>
                  <a:lnTo>
                    <a:pt x="0" y="132"/>
                  </a:lnTo>
                  <a:lnTo>
                    <a:pt x="8" y="130"/>
                  </a:lnTo>
                  <a:lnTo>
                    <a:pt x="8" y="128"/>
                  </a:lnTo>
                  <a:lnTo>
                    <a:pt x="8" y="125"/>
                  </a:lnTo>
                  <a:lnTo>
                    <a:pt x="15" y="115"/>
                  </a:lnTo>
                  <a:lnTo>
                    <a:pt x="15" y="103"/>
                  </a:lnTo>
                  <a:lnTo>
                    <a:pt x="13" y="98"/>
                  </a:lnTo>
                  <a:lnTo>
                    <a:pt x="11" y="90"/>
                  </a:lnTo>
                  <a:lnTo>
                    <a:pt x="10" y="77"/>
                  </a:lnTo>
                  <a:lnTo>
                    <a:pt x="15" y="67"/>
                  </a:lnTo>
                  <a:lnTo>
                    <a:pt x="15" y="59"/>
                  </a:lnTo>
                  <a:lnTo>
                    <a:pt x="23" y="57"/>
                  </a:lnTo>
                  <a:lnTo>
                    <a:pt x="31" y="57"/>
                  </a:lnTo>
                  <a:lnTo>
                    <a:pt x="36" y="54"/>
                  </a:lnTo>
                  <a:lnTo>
                    <a:pt x="40" y="54"/>
                  </a:lnTo>
                  <a:lnTo>
                    <a:pt x="50" y="44"/>
                  </a:lnTo>
                  <a:lnTo>
                    <a:pt x="61" y="36"/>
                  </a:lnTo>
                  <a:lnTo>
                    <a:pt x="65" y="29"/>
                  </a:lnTo>
                  <a:lnTo>
                    <a:pt x="63" y="23"/>
                  </a:lnTo>
                  <a:lnTo>
                    <a:pt x="69" y="25"/>
                  </a:lnTo>
                  <a:lnTo>
                    <a:pt x="79" y="15"/>
                  </a:lnTo>
                  <a:lnTo>
                    <a:pt x="79" y="6"/>
                  </a:lnTo>
                  <a:lnTo>
                    <a:pt x="82" y="0"/>
                  </a:lnTo>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65" name="Freeform 31">
              <a:extLst>
                <a:ext uri="{FF2B5EF4-FFF2-40B4-BE49-F238E27FC236}">
                  <a16:creationId xmlns:a16="http://schemas.microsoft.com/office/drawing/2014/main" id="{5F737036-4814-A295-B4E4-92E13309F5FB}"/>
                </a:ext>
              </a:extLst>
            </p:cNvPr>
            <p:cNvSpPr>
              <a:spLocks/>
            </p:cNvSpPr>
            <p:nvPr/>
          </p:nvSpPr>
          <p:spPr bwMode="auto">
            <a:xfrm>
              <a:off x="6873875" y="4739847"/>
              <a:ext cx="892175" cy="673404"/>
            </a:xfrm>
            <a:custGeom>
              <a:avLst/>
              <a:gdLst>
                <a:gd name="T0" fmla="*/ 416 w 562"/>
                <a:gd name="T1" fmla="*/ 17 h 424"/>
                <a:gd name="T2" fmla="*/ 420 w 562"/>
                <a:gd name="T3" fmla="*/ 44 h 424"/>
                <a:gd name="T4" fmla="*/ 447 w 562"/>
                <a:gd name="T5" fmla="*/ 59 h 424"/>
                <a:gd name="T6" fmla="*/ 454 w 562"/>
                <a:gd name="T7" fmla="*/ 88 h 424"/>
                <a:gd name="T8" fmla="*/ 476 w 562"/>
                <a:gd name="T9" fmla="*/ 124 h 424"/>
                <a:gd name="T10" fmla="*/ 502 w 562"/>
                <a:gd name="T11" fmla="*/ 151 h 424"/>
                <a:gd name="T12" fmla="*/ 522 w 562"/>
                <a:gd name="T13" fmla="*/ 167 h 424"/>
                <a:gd name="T14" fmla="*/ 552 w 562"/>
                <a:gd name="T15" fmla="*/ 209 h 424"/>
                <a:gd name="T16" fmla="*/ 562 w 562"/>
                <a:gd name="T17" fmla="*/ 253 h 424"/>
                <a:gd name="T18" fmla="*/ 554 w 562"/>
                <a:gd name="T19" fmla="*/ 293 h 424"/>
                <a:gd name="T20" fmla="*/ 531 w 562"/>
                <a:gd name="T21" fmla="*/ 339 h 424"/>
                <a:gd name="T22" fmla="*/ 512 w 562"/>
                <a:gd name="T23" fmla="*/ 382 h 424"/>
                <a:gd name="T24" fmla="*/ 489 w 562"/>
                <a:gd name="T25" fmla="*/ 403 h 424"/>
                <a:gd name="T26" fmla="*/ 449 w 562"/>
                <a:gd name="T27" fmla="*/ 416 h 424"/>
                <a:gd name="T28" fmla="*/ 422 w 562"/>
                <a:gd name="T29" fmla="*/ 420 h 424"/>
                <a:gd name="T30" fmla="*/ 380 w 562"/>
                <a:gd name="T31" fmla="*/ 406 h 424"/>
                <a:gd name="T32" fmla="*/ 359 w 562"/>
                <a:gd name="T33" fmla="*/ 368 h 424"/>
                <a:gd name="T34" fmla="*/ 341 w 562"/>
                <a:gd name="T35" fmla="*/ 360 h 424"/>
                <a:gd name="T36" fmla="*/ 341 w 562"/>
                <a:gd name="T37" fmla="*/ 335 h 424"/>
                <a:gd name="T38" fmla="*/ 314 w 562"/>
                <a:gd name="T39" fmla="*/ 357 h 424"/>
                <a:gd name="T40" fmla="*/ 289 w 562"/>
                <a:gd name="T41" fmla="*/ 324 h 424"/>
                <a:gd name="T42" fmla="*/ 251 w 562"/>
                <a:gd name="T43" fmla="*/ 303 h 424"/>
                <a:gd name="T44" fmla="*/ 180 w 562"/>
                <a:gd name="T45" fmla="*/ 314 h 424"/>
                <a:gd name="T46" fmla="*/ 144 w 562"/>
                <a:gd name="T47" fmla="*/ 341 h 424"/>
                <a:gd name="T48" fmla="*/ 101 w 562"/>
                <a:gd name="T49" fmla="*/ 341 h 424"/>
                <a:gd name="T50" fmla="*/ 73 w 562"/>
                <a:gd name="T51" fmla="*/ 355 h 424"/>
                <a:gd name="T52" fmla="*/ 30 w 562"/>
                <a:gd name="T53" fmla="*/ 347 h 424"/>
                <a:gd name="T54" fmla="*/ 34 w 562"/>
                <a:gd name="T55" fmla="*/ 332 h 424"/>
                <a:gd name="T56" fmla="*/ 27 w 562"/>
                <a:gd name="T57" fmla="*/ 289 h 424"/>
                <a:gd name="T58" fmla="*/ 19 w 562"/>
                <a:gd name="T59" fmla="*/ 257 h 424"/>
                <a:gd name="T60" fmla="*/ 0 w 562"/>
                <a:gd name="T61" fmla="*/ 222 h 424"/>
                <a:gd name="T62" fmla="*/ 13 w 562"/>
                <a:gd name="T63" fmla="*/ 226 h 424"/>
                <a:gd name="T64" fmla="*/ 0 w 562"/>
                <a:gd name="T65" fmla="*/ 197 h 424"/>
                <a:gd name="T66" fmla="*/ 5 w 562"/>
                <a:gd name="T67" fmla="*/ 169 h 424"/>
                <a:gd name="T68" fmla="*/ 30 w 562"/>
                <a:gd name="T69" fmla="*/ 153 h 424"/>
                <a:gd name="T70" fmla="*/ 57 w 562"/>
                <a:gd name="T71" fmla="*/ 144 h 424"/>
                <a:gd name="T72" fmla="*/ 82 w 562"/>
                <a:gd name="T73" fmla="*/ 132 h 424"/>
                <a:gd name="T74" fmla="*/ 117 w 562"/>
                <a:gd name="T75" fmla="*/ 113 h 424"/>
                <a:gd name="T76" fmla="*/ 134 w 562"/>
                <a:gd name="T77" fmla="*/ 80 h 424"/>
                <a:gd name="T78" fmla="*/ 146 w 562"/>
                <a:gd name="T79" fmla="*/ 76 h 424"/>
                <a:gd name="T80" fmla="*/ 165 w 562"/>
                <a:gd name="T81" fmla="*/ 57 h 424"/>
                <a:gd name="T82" fmla="*/ 178 w 562"/>
                <a:gd name="T83" fmla="*/ 48 h 424"/>
                <a:gd name="T84" fmla="*/ 209 w 562"/>
                <a:gd name="T85" fmla="*/ 57 h 424"/>
                <a:gd name="T86" fmla="*/ 232 w 562"/>
                <a:gd name="T87" fmla="*/ 42 h 424"/>
                <a:gd name="T88" fmla="*/ 249 w 562"/>
                <a:gd name="T89" fmla="*/ 19 h 424"/>
                <a:gd name="T90" fmla="*/ 259 w 562"/>
                <a:gd name="T91" fmla="*/ 9 h 424"/>
                <a:gd name="T92" fmla="*/ 293 w 562"/>
                <a:gd name="T93" fmla="*/ 19 h 424"/>
                <a:gd name="T94" fmla="*/ 320 w 562"/>
                <a:gd name="T95" fmla="*/ 19 h 424"/>
                <a:gd name="T96" fmla="*/ 320 w 562"/>
                <a:gd name="T97" fmla="*/ 36 h 424"/>
                <a:gd name="T98" fmla="*/ 309 w 562"/>
                <a:gd name="T99" fmla="*/ 57 h 424"/>
                <a:gd name="T100" fmla="*/ 339 w 562"/>
                <a:gd name="T101" fmla="*/ 78 h 424"/>
                <a:gd name="T102" fmla="*/ 362 w 562"/>
                <a:gd name="T103" fmla="*/ 96 h 424"/>
                <a:gd name="T104" fmla="*/ 387 w 562"/>
                <a:gd name="T105" fmla="*/ 80 h 424"/>
                <a:gd name="T106" fmla="*/ 393 w 562"/>
                <a:gd name="T107" fmla="*/ 50 h 424"/>
                <a:gd name="T108" fmla="*/ 395 w 562"/>
                <a:gd name="T109" fmla="*/ 23 h 424"/>
                <a:gd name="T110" fmla="*/ 406 w 562"/>
                <a:gd name="T111" fmla="*/ 0 h 4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62" h="424">
                  <a:moveTo>
                    <a:pt x="406" y="0"/>
                  </a:moveTo>
                  <a:lnTo>
                    <a:pt x="410" y="7"/>
                  </a:lnTo>
                  <a:lnTo>
                    <a:pt x="412" y="15"/>
                  </a:lnTo>
                  <a:lnTo>
                    <a:pt x="416" y="17"/>
                  </a:lnTo>
                  <a:lnTo>
                    <a:pt x="416" y="23"/>
                  </a:lnTo>
                  <a:lnTo>
                    <a:pt x="420" y="30"/>
                  </a:lnTo>
                  <a:lnTo>
                    <a:pt x="422" y="38"/>
                  </a:lnTo>
                  <a:lnTo>
                    <a:pt x="420" y="44"/>
                  </a:lnTo>
                  <a:lnTo>
                    <a:pt x="426" y="53"/>
                  </a:lnTo>
                  <a:lnTo>
                    <a:pt x="435" y="48"/>
                  </a:lnTo>
                  <a:lnTo>
                    <a:pt x="441" y="55"/>
                  </a:lnTo>
                  <a:lnTo>
                    <a:pt x="447" y="59"/>
                  </a:lnTo>
                  <a:lnTo>
                    <a:pt x="445" y="67"/>
                  </a:lnTo>
                  <a:lnTo>
                    <a:pt x="449" y="78"/>
                  </a:lnTo>
                  <a:lnTo>
                    <a:pt x="451" y="86"/>
                  </a:lnTo>
                  <a:lnTo>
                    <a:pt x="454" y="88"/>
                  </a:lnTo>
                  <a:lnTo>
                    <a:pt x="456" y="99"/>
                  </a:lnTo>
                  <a:lnTo>
                    <a:pt x="454" y="107"/>
                  </a:lnTo>
                  <a:lnTo>
                    <a:pt x="460" y="117"/>
                  </a:lnTo>
                  <a:lnTo>
                    <a:pt x="476" y="124"/>
                  </a:lnTo>
                  <a:lnTo>
                    <a:pt x="487" y="132"/>
                  </a:lnTo>
                  <a:lnTo>
                    <a:pt x="497" y="140"/>
                  </a:lnTo>
                  <a:lnTo>
                    <a:pt x="493" y="142"/>
                  </a:lnTo>
                  <a:lnTo>
                    <a:pt x="502" y="151"/>
                  </a:lnTo>
                  <a:lnTo>
                    <a:pt x="506" y="167"/>
                  </a:lnTo>
                  <a:lnTo>
                    <a:pt x="512" y="163"/>
                  </a:lnTo>
                  <a:lnTo>
                    <a:pt x="518" y="169"/>
                  </a:lnTo>
                  <a:lnTo>
                    <a:pt x="522" y="167"/>
                  </a:lnTo>
                  <a:lnTo>
                    <a:pt x="525" y="182"/>
                  </a:lnTo>
                  <a:lnTo>
                    <a:pt x="533" y="192"/>
                  </a:lnTo>
                  <a:lnTo>
                    <a:pt x="541" y="197"/>
                  </a:lnTo>
                  <a:lnTo>
                    <a:pt x="552" y="209"/>
                  </a:lnTo>
                  <a:lnTo>
                    <a:pt x="554" y="222"/>
                  </a:lnTo>
                  <a:lnTo>
                    <a:pt x="554" y="230"/>
                  </a:lnTo>
                  <a:lnTo>
                    <a:pt x="554" y="240"/>
                  </a:lnTo>
                  <a:lnTo>
                    <a:pt x="562" y="253"/>
                  </a:lnTo>
                  <a:lnTo>
                    <a:pt x="560" y="264"/>
                  </a:lnTo>
                  <a:lnTo>
                    <a:pt x="558" y="272"/>
                  </a:lnTo>
                  <a:lnTo>
                    <a:pt x="554" y="286"/>
                  </a:lnTo>
                  <a:lnTo>
                    <a:pt x="554" y="293"/>
                  </a:lnTo>
                  <a:lnTo>
                    <a:pt x="552" y="305"/>
                  </a:lnTo>
                  <a:lnTo>
                    <a:pt x="545" y="320"/>
                  </a:lnTo>
                  <a:lnTo>
                    <a:pt x="535" y="328"/>
                  </a:lnTo>
                  <a:lnTo>
                    <a:pt x="531" y="339"/>
                  </a:lnTo>
                  <a:lnTo>
                    <a:pt x="527" y="347"/>
                  </a:lnTo>
                  <a:lnTo>
                    <a:pt x="522" y="360"/>
                  </a:lnTo>
                  <a:lnTo>
                    <a:pt x="516" y="368"/>
                  </a:lnTo>
                  <a:lnTo>
                    <a:pt x="512" y="382"/>
                  </a:lnTo>
                  <a:lnTo>
                    <a:pt x="512" y="391"/>
                  </a:lnTo>
                  <a:lnTo>
                    <a:pt x="512" y="397"/>
                  </a:lnTo>
                  <a:lnTo>
                    <a:pt x="502" y="403"/>
                  </a:lnTo>
                  <a:lnTo>
                    <a:pt x="489" y="403"/>
                  </a:lnTo>
                  <a:lnTo>
                    <a:pt x="474" y="408"/>
                  </a:lnTo>
                  <a:lnTo>
                    <a:pt x="468" y="416"/>
                  </a:lnTo>
                  <a:lnTo>
                    <a:pt x="458" y="424"/>
                  </a:lnTo>
                  <a:lnTo>
                    <a:pt x="449" y="416"/>
                  </a:lnTo>
                  <a:lnTo>
                    <a:pt x="439" y="412"/>
                  </a:lnTo>
                  <a:lnTo>
                    <a:pt x="443" y="405"/>
                  </a:lnTo>
                  <a:lnTo>
                    <a:pt x="433" y="406"/>
                  </a:lnTo>
                  <a:lnTo>
                    <a:pt x="422" y="420"/>
                  </a:lnTo>
                  <a:lnTo>
                    <a:pt x="410" y="414"/>
                  </a:lnTo>
                  <a:lnTo>
                    <a:pt x="403" y="412"/>
                  </a:lnTo>
                  <a:lnTo>
                    <a:pt x="393" y="410"/>
                  </a:lnTo>
                  <a:lnTo>
                    <a:pt x="380" y="406"/>
                  </a:lnTo>
                  <a:lnTo>
                    <a:pt x="372" y="397"/>
                  </a:lnTo>
                  <a:lnTo>
                    <a:pt x="368" y="385"/>
                  </a:lnTo>
                  <a:lnTo>
                    <a:pt x="366" y="376"/>
                  </a:lnTo>
                  <a:lnTo>
                    <a:pt x="359" y="368"/>
                  </a:lnTo>
                  <a:lnTo>
                    <a:pt x="345" y="368"/>
                  </a:lnTo>
                  <a:lnTo>
                    <a:pt x="351" y="360"/>
                  </a:lnTo>
                  <a:lnTo>
                    <a:pt x="347" y="347"/>
                  </a:lnTo>
                  <a:lnTo>
                    <a:pt x="341" y="360"/>
                  </a:lnTo>
                  <a:lnTo>
                    <a:pt x="326" y="362"/>
                  </a:lnTo>
                  <a:lnTo>
                    <a:pt x="335" y="353"/>
                  </a:lnTo>
                  <a:lnTo>
                    <a:pt x="337" y="345"/>
                  </a:lnTo>
                  <a:lnTo>
                    <a:pt x="341" y="335"/>
                  </a:lnTo>
                  <a:lnTo>
                    <a:pt x="341" y="326"/>
                  </a:lnTo>
                  <a:lnTo>
                    <a:pt x="330" y="339"/>
                  </a:lnTo>
                  <a:lnTo>
                    <a:pt x="322" y="345"/>
                  </a:lnTo>
                  <a:lnTo>
                    <a:pt x="314" y="357"/>
                  </a:lnTo>
                  <a:lnTo>
                    <a:pt x="305" y="349"/>
                  </a:lnTo>
                  <a:lnTo>
                    <a:pt x="305" y="341"/>
                  </a:lnTo>
                  <a:lnTo>
                    <a:pt x="297" y="332"/>
                  </a:lnTo>
                  <a:lnTo>
                    <a:pt x="289" y="324"/>
                  </a:lnTo>
                  <a:lnTo>
                    <a:pt x="291" y="322"/>
                  </a:lnTo>
                  <a:lnTo>
                    <a:pt x="274" y="311"/>
                  </a:lnTo>
                  <a:lnTo>
                    <a:pt x="264" y="311"/>
                  </a:lnTo>
                  <a:lnTo>
                    <a:pt x="251" y="303"/>
                  </a:lnTo>
                  <a:lnTo>
                    <a:pt x="226" y="303"/>
                  </a:lnTo>
                  <a:lnTo>
                    <a:pt x="207" y="311"/>
                  </a:lnTo>
                  <a:lnTo>
                    <a:pt x="192" y="316"/>
                  </a:lnTo>
                  <a:lnTo>
                    <a:pt x="180" y="314"/>
                  </a:lnTo>
                  <a:lnTo>
                    <a:pt x="165" y="322"/>
                  </a:lnTo>
                  <a:lnTo>
                    <a:pt x="151" y="326"/>
                  </a:lnTo>
                  <a:lnTo>
                    <a:pt x="149" y="334"/>
                  </a:lnTo>
                  <a:lnTo>
                    <a:pt x="144" y="341"/>
                  </a:lnTo>
                  <a:lnTo>
                    <a:pt x="132" y="341"/>
                  </a:lnTo>
                  <a:lnTo>
                    <a:pt x="124" y="343"/>
                  </a:lnTo>
                  <a:lnTo>
                    <a:pt x="111" y="339"/>
                  </a:lnTo>
                  <a:lnTo>
                    <a:pt x="101" y="341"/>
                  </a:lnTo>
                  <a:lnTo>
                    <a:pt x="92" y="343"/>
                  </a:lnTo>
                  <a:lnTo>
                    <a:pt x="84" y="351"/>
                  </a:lnTo>
                  <a:lnTo>
                    <a:pt x="78" y="349"/>
                  </a:lnTo>
                  <a:lnTo>
                    <a:pt x="73" y="355"/>
                  </a:lnTo>
                  <a:lnTo>
                    <a:pt x="65" y="360"/>
                  </a:lnTo>
                  <a:lnTo>
                    <a:pt x="55" y="359"/>
                  </a:lnTo>
                  <a:lnTo>
                    <a:pt x="46" y="359"/>
                  </a:lnTo>
                  <a:lnTo>
                    <a:pt x="30" y="347"/>
                  </a:lnTo>
                  <a:lnTo>
                    <a:pt x="25" y="345"/>
                  </a:lnTo>
                  <a:lnTo>
                    <a:pt x="25" y="335"/>
                  </a:lnTo>
                  <a:lnTo>
                    <a:pt x="30" y="334"/>
                  </a:lnTo>
                  <a:lnTo>
                    <a:pt x="34" y="332"/>
                  </a:lnTo>
                  <a:lnTo>
                    <a:pt x="32" y="326"/>
                  </a:lnTo>
                  <a:lnTo>
                    <a:pt x="34" y="314"/>
                  </a:lnTo>
                  <a:lnTo>
                    <a:pt x="32" y="305"/>
                  </a:lnTo>
                  <a:lnTo>
                    <a:pt x="27" y="289"/>
                  </a:lnTo>
                  <a:lnTo>
                    <a:pt x="25" y="282"/>
                  </a:lnTo>
                  <a:lnTo>
                    <a:pt x="25" y="272"/>
                  </a:lnTo>
                  <a:lnTo>
                    <a:pt x="19" y="263"/>
                  </a:lnTo>
                  <a:lnTo>
                    <a:pt x="19" y="257"/>
                  </a:lnTo>
                  <a:lnTo>
                    <a:pt x="13" y="253"/>
                  </a:lnTo>
                  <a:lnTo>
                    <a:pt x="11" y="241"/>
                  </a:lnTo>
                  <a:lnTo>
                    <a:pt x="2" y="228"/>
                  </a:lnTo>
                  <a:lnTo>
                    <a:pt x="0" y="222"/>
                  </a:lnTo>
                  <a:lnTo>
                    <a:pt x="7" y="228"/>
                  </a:lnTo>
                  <a:lnTo>
                    <a:pt x="2" y="216"/>
                  </a:lnTo>
                  <a:lnTo>
                    <a:pt x="9" y="218"/>
                  </a:lnTo>
                  <a:lnTo>
                    <a:pt x="13" y="226"/>
                  </a:lnTo>
                  <a:lnTo>
                    <a:pt x="13" y="218"/>
                  </a:lnTo>
                  <a:lnTo>
                    <a:pt x="5" y="205"/>
                  </a:lnTo>
                  <a:lnTo>
                    <a:pt x="4" y="201"/>
                  </a:lnTo>
                  <a:lnTo>
                    <a:pt x="0" y="197"/>
                  </a:lnTo>
                  <a:lnTo>
                    <a:pt x="2" y="188"/>
                  </a:lnTo>
                  <a:lnTo>
                    <a:pt x="5" y="184"/>
                  </a:lnTo>
                  <a:lnTo>
                    <a:pt x="7" y="178"/>
                  </a:lnTo>
                  <a:lnTo>
                    <a:pt x="5" y="169"/>
                  </a:lnTo>
                  <a:lnTo>
                    <a:pt x="13" y="159"/>
                  </a:lnTo>
                  <a:lnTo>
                    <a:pt x="13" y="169"/>
                  </a:lnTo>
                  <a:lnTo>
                    <a:pt x="19" y="159"/>
                  </a:lnTo>
                  <a:lnTo>
                    <a:pt x="30" y="153"/>
                  </a:lnTo>
                  <a:lnTo>
                    <a:pt x="36" y="149"/>
                  </a:lnTo>
                  <a:lnTo>
                    <a:pt x="48" y="142"/>
                  </a:lnTo>
                  <a:lnTo>
                    <a:pt x="55" y="142"/>
                  </a:lnTo>
                  <a:lnTo>
                    <a:pt x="57" y="144"/>
                  </a:lnTo>
                  <a:lnTo>
                    <a:pt x="69" y="138"/>
                  </a:lnTo>
                  <a:lnTo>
                    <a:pt x="76" y="138"/>
                  </a:lnTo>
                  <a:lnTo>
                    <a:pt x="78" y="134"/>
                  </a:lnTo>
                  <a:lnTo>
                    <a:pt x="82" y="132"/>
                  </a:lnTo>
                  <a:lnTo>
                    <a:pt x="92" y="132"/>
                  </a:lnTo>
                  <a:lnTo>
                    <a:pt x="103" y="128"/>
                  </a:lnTo>
                  <a:lnTo>
                    <a:pt x="113" y="122"/>
                  </a:lnTo>
                  <a:lnTo>
                    <a:pt x="117" y="113"/>
                  </a:lnTo>
                  <a:lnTo>
                    <a:pt x="124" y="107"/>
                  </a:lnTo>
                  <a:lnTo>
                    <a:pt x="124" y="99"/>
                  </a:lnTo>
                  <a:lnTo>
                    <a:pt x="126" y="94"/>
                  </a:lnTo>
                  <a:lnTo>
                    <a:pt x="134" y="80"/>
                  </a:lnTo>
                  <a:lnTo>
                    <a:pt x="142" y="94"/>
                  </a:lnTo>
                  <a:lnTo>
                    <a:pt x="146" y="90"/>
                  </a:lnTo>
                  <a:lnTo>
                    <a:pt x="142" y="84"/>
                  </a:lnTo>
                  <a:lnTo>
                    <a:pt x="146" y="76"/>
                  </a:lnTo>
                  <a:lnTo>
                    <a:pt x="153" y="80"/>
                  </a:lnTo>
                  <a:lnTo>
                    <a:pt x="155" y="69"/>
                  </a:lnTo>
                  <a:lnTo>
                    <a:pt x="161" y="61"/>
                  </a:lnTo>
                  <a:lnTo>
                    <a:pt x="165" y="57"/>
                  </a:lnTo>
                  <a:lnTo>
                    <a:pt x="172" y="53"/>
                  </a:lnTo>
                  <a:lnTo>
                    <a:pt x="172" y="50"/>
                  </a:lnTo>
                  <a:lnTo>
                    <a:pt x="178" y="51"/>
                  </a:lnTo>
                  <a:lnTo>
                    <a:pt x="178" y="48"/>
                  </a:lnTo>
                  <a:lnTo>
                    <a:pt x="184" y="46"/>
                  </a:lnTo>
                  <a:lnTo>
                    <a:pt x="192" y="44"/>
                  </a:lnTo>
                  <a:lnTo>
                    <a:pt x="201" y="50"/>
                  </a:lnTo>
                  <a:lnTo>
                    <a:pt x="209" y="57"/>
                  </a:lnTo>
                  <a:lnTo>
                    <a:pt x="218" y="57"/>
                  </a:lnTo>
                  <a:lnTo>
                    <a:pt x="226" y="59"/>
                  </a:lnTo>
                  <a:lnTo>
                    <a:pt x="224" y="51"/>
                  </a:lnTo>
                  <a:lnTo>
                    <a:pt x="232" y="42"/>
                  </a:lnTo>
                  <a:lnTo>
                    <a:pt x="236" y="36"/>
                  </a:lnTo>
                  <a:lnTo>
                    <a:pt x="236" y="34"/>
                  </a:lnTo>
                  <a:lnTo>
                    <a:pt x="241" y="25"/>
                  </a:lnTo>
                  <a:lnTo>
                    <a:pt x="249" y="19"/>
                  </a:lnTo>
                  <a:lnTo>
                    <a:pt x="257" y="21"/>
                  </a:lnTo>
                  <a:lnTo>
                    <a:pt x="268" y="19"/>
                  </a:lnTo>
                  <a:lnTo>
                    <a:pt x="268" y="13"/>
                  </a:lnTo>
                  <a:lnTo>
                    <a:pt x="259" y="9"/>
                  </a:lnTo>
                  <a:lnTo>
                    <a:pt x="264" y="7"/>
                  </a:lnTo>
                  <a:lnTo>
                    <a:pt x="274" y="9"/>
                  </a:lnTo>
                  <a:lnTo>
                    <a:pt x="282" y="15"/>
                  </a:lnTo>
                  <a:lnTo>
                    <a:pt x="293" y="19"/>
                  </a:lnTo>
                  <a:lnTo>
                    <a:pt x="299" y="17"/>
                  </a:lnTo>
                  <a:lnTo>
                    <a:pt x="307" y="21"/>
                  </a:lnTo>
                  <a:lnTo>
                    <a:pt x="314" y="19"/>
                  </a:lnTo>
                  <a:lnTo>
                    <a:pt x="320" y="19"/>
                  </a:lnTo>
                  <a:lnTo>
                    <a:pt x="324" y="17"/>
                  </a:lnTo>
                  <a:lnTo>
                    <a:pt x="328" y="23"/>
                  </a:lnTo>
                  <a:lnTo>
                    <a:pt x="324" y="30"/>
                  </a:lnTo>
                  <a:lnTo>
                    <a:pt x="320" y="36"/>
                  </a:lnTo>
                  <a:lnTo>
                    <a:pt x="314" y="36"/>
                  </a:lnTo>
                  <a:lnTo>
                    <a:pt x="316" y="42"/>
                  </a:lnTo>
                  <a:lnTo>
                    <a:pt x="312" y="50"/>
                  </a:lnTo>
                  <a:lnTo>
                    <a:pt x="309" y="57"/>
                  </a:lnTo>
                  <a:lnTo>
                    <a:pt x="309" y="59"/>
                  </a:lnTo>
                  <a:lnTo>
                    <a:pt x="320" y="69"/>
                  </a:lnTo>
                  <a:lnTo>
                    <a:pt x="330" y="74"/>
                  </a:lnTo>
                  <a:lnTo>
                    <a:pt x="339" y="78"/>
                  </a:lnTo>
                  <a:lnTo>
                    <a:pt x="349" y="86"/>
                  </a:lnTo>
                  <a:lnTo>
                    <a:pt x="351" y="86"/>
                  </a:lnTo>
                  <a:lnTo>
                    <a:pt x="359" y="90"/>
                  </a:lnTo>
                  <a:lnTo>
                    <a:pt x="362" y="96"/>
                  </a:lnTo>
                  <a:lnTo>
                    <a:pt x="376" y="99"/>
                  </a:lnTo>
                  <a:lnTo>
                    <a:pt x="383" y="96"/>
                  </a:lnTo>
                  <a:lnTo>
                    <a:pt x="387" y="86"/>
                  </a:lnTo>
                  <a:lnTo>
                    <a:pt x="387" y="80"/>
                  </a:lnTo>
                  <a:lnTo>
                    <a:pt x="389" y="73"/>
                  </a:lnTo>
                  <a:lnTo>
                    <a:pt x="395" y="61"/>
                  </a:lnTo>
                  <a:lnTo>
                    <a:pt x="393" y="55"/>
                  </a:lnTo>
                  <a:lnTo>
                    <a:pt x="393" y="50"/>
                  </a:lnTo>
                  <a:lnTo>
                    <a:pt x="391" y="42"/>
                  </a:lnTo>
                  <a:lnTo>
                    <a:pt x="395" y="32"/>
                  </a:lnTo>
                  <a:lnTo>
                    <a:pt x="397" y="28"/>
                  </a:lnTo>
                  <a:lnTo>
                    <a:pt x="395" y="23"/>
                  </a:lnTo>
                  <a:lnTo>
                    <a:pt x="399" y="17"/>
                  </a:lnTo>
                  <a:lnTo>
                    <a:pt x="401" y="9"/>
                  </a:lnTo>
                  <a:lnTo>
                    <a:pt x="403" y="5"/>
                  </a:lnTo>
                  <a:lnTo>
                    <a:pt x="406" y="0"/>
                  </a:lnTo>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66" name="Freeform 33">
              <a:extLst>
                <a:ext uri="{FF2B5EF4-FFF2-40B4-BE49-F238E27FC236}">
                  <a16:creationId xmlns:a16="http://schemas.microsoft.com/office/drawing/2014/main" id="{8D278D12-9436-1B9D-FC19-3B96C89340A1}"/>
                </a:ext>
              </a:extLst>
            </p:cNvPr>
            <p:cNvSpPr>
              <a:spLocks/>
            </p:cNvSpPr>
            <p:nvPr/>
          </p:nvSpPr>
          <p:spPr bwMode="auto">
            <a:xfrm>
              <a:off x="7935912" y="4730317"/>
              <a:ext cx="22225" cy="12706"/>
            </a:xfrm>
            <a:custGeom>
              <a:avLst/>
              <a:gdLst>
                <a:gd name="T0" fmla="*/ 0 w 14"/>
                <a:gd name="T1" fmla="*/ 0 h 8"/>
                <a:gd name="T2" fmla="*/ 8 w 14"/>
                <a:gd name="T3" fmla="*/ 2 h 8"/>
                <a:gd name="T4" fmla="*/ 12 w 14"/>
                <a:gd name="T5" fmla="*/ 2 h 8"/>
                <a:gd name="T6" fmla="*/ 14 w 14"/>
                <a:gd name="T7" fmla="*/ 8 h 8"/>
                <a:gd name="T8" fmla="*/ 4 w 14"/>
                <a:gd name="T9" fmla="*/ 8 h 8"/>
                <a:gd name="T10" fmla="*/ 0 w 14"/>
                <a:gd name="T11" fmla="*/ 0 h 8"/>
              </a:gdLst>
              <a:ahLst/>
              <a:cxnLst>
                <a:cxn ang="0">
                  <a:pos x="T0" y="T1"/>
                </a:cxn>
                <a:cxn ang="0">
                  <a:pos x="T2" y="T3"/>
                </a:cxn>
                <a:cxn ang="0">
                  <a:pos x="T4" y="T5"/>
                </a:cxn>
                <a:cxn ang="0">
                  <a:pos x="T6" y="T7"/>
                </a:cxn>
                <a:cxn ang="0">
                  <a:pos x="T8" y="T9"/>
                </a:cxn>
                <a:cxn ang="0">
                  <a:pos x="T10" y="T11"/>
                </a:cxn>
              </a:cxnLst>
              <a:rect l="0" t="0" r="r" b="b"/>
              <a:pathLst>
                <a:path w="14" h="8">
                  <a:moveTo>
                    <a:pt x="0" y="0"/>
                  </a:moveTo>
                  <a:lnTo>
                    <a:pt x="8" y="2"/>
                  </a:lnTo>
                  <a:lnTo>
                    <a:pt x="12" y="2"/>
                  </a:lnTo>
                  <a:lnTo>
                    <a:pt x="14" y="8"/>
                  </a:lnTo>
                  <a:lnTo>
                    <a:pt x="4" y="8"/>
                  </a:lnTo>
                  <a:lnTo>
                    <a:pt x="0" y="0"/>
                  </a:lnTo>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67" name="Freeform 35">
              <a:extLst>
                <a:ext uri="{FF2B5EF4-FFF2-40B4-BE49-F238E27FC236}">
                  <a16:creationId xmlns:a16="http://schemas.microsoft.com/office/drawing/2014/main" id="{BB0A13DB-A5AE-0ED0-5E3B-5D2A7B02CD1C}"/>
                </a:ext>
              </a:extLst>
            </p:cNvPr>
            <p:cNvSpPr>
              <a:spLocks/>
            </p:cNvSpPr>
            <p:nvPr/>
          </p:nvSpPr>
          <p:spPr bwMode="auto">
            <a:xfrm>
              <a:off x="6997700" y="4708082"/>
              <a:ext cx="39688" cy="22235"/>
            </a:xfrm>
            <a:custGeom>
              <a:avLst/>
              <a:gdLst>
                <a:gd name="T0" fmla="*/ 16 w 25"/>
                <a:gd name="T1" fmla="*/ 0 h 14"/>
                <a:gd name="T2" fmla="*/ 21 w 25"/>
                <a:gd name="T3" fmla="*/ 4 h 14"/>
                <a:gd name="T4" fmla="*/ 25 w 25"/>
                <a:gd name="T5" fmla="*/ 10 h 14"/>
                <a:gd name="T6" fmla="*/ 25 w 25"/>
                <a:gd name="T7" fmla="*/ 14 h 14"/>
                <a:gd name="T8" fmla="*/ 20 w 25"/>
                <a:gd name="T9" fmla="*/ 14 h 14"/>
                <a:gd name="T10" fmla="*/ 0 w 25"/>
                <a:gd name="T11" fmla="*/ 2 h 14"/>
                <a:gd name="T12" fmla="*/ 16 w 25"/>
                <a:gd name="T13" fmla="*/ 0 h 14"/>
              </a:gdLst>
              <a:ahLst/>
              <a:cxnLst>
                <a:cxn ang="0">
                  <a:pos x="T0" y="T1"/>
                </a:cxn>
                <a:cxn ang="0">
                  <a:pos x="T2" y="T3"/>
                </a:cxn>
                <a:cxn ang="0">
                  <a:pos x="T4" y="T5"/>
                </a:cxn>
                <a:cxn ang="0">
                  <a:pos x="T6" y="T7"/>
                </a:cxn>
                <a:cxn ang="0">
                  <a:pos x="T8" y="T9"/>
                </a:cxn>
                <a:cxn ang="0">
                  <a:pos x="T10" y="T11"/>
                </a:cxn>
                <a:cxn ang="0">
                  <a:pos x="T12" y="T13"/>
                </a:cxn>
              </a:cxnLst>
              <a:rect l="0" t="0" r="r" b="b"/>
              <a:pathLst>
                <a:path w="25" h="14">
                  <a:moveTo>
                    <a:pt x="16" y="0"/>
                  </a:moveTo>
                  <a:lnTo>
                    <a:pt x="21" y="4"/>
                  </a:lnTo>
                  <a:lnTo>
                    <a:pt x="25" y="10"/>
                  </a:lnTo>
                  <a:lnTo>
                    <a:pt x="25" y="14"/>
                  </a:lnTo>
                  <a:lnTo>
                    <a:pt x="20" y="14"/>
                  </a:lnTo>
                  <a:lnTo>
                    <a:pt x="0" y="2"/>
                  </a:lnTo>
                  <a:lnTo>
                    <a:pt x="16" y="0"/>
                  </a:lnTo>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68" name="Freeform 37">
              <a:extLst>
                <a:ext uri="{FF2B5EF4-FFF2-40B4-BE49-F238E27FC236}">
                  <a16:creationId xmlns:a16="http://schemas.microsoft.com/office/drawing/2014/main" id="{F31B3157-495A-2A54-C34B-A3780639C077}"/>
                </a:ext>
              </a:extLst>
            </p:cNvPr>
            <p:cNvSpPr>
              <a:spLocks/>
            </p:cNvSpPr>
            <p:nvPr/>
          </p:nvSpPr>
          <p:spPr bwMode="auto">
            <a:xfrm>
              <a:off x="7896225" y="4708082"/>
              <a:ext cx="28575" cy="12706"/>
            </a:xfrm>
            <a:custGeom>
              <a:avLst/>
              <a:gdLst>
                <a:gd name="T0" fmla="*/ 2 w 18"/>
                <a:gd name="T1" fmla="*/ 0 h 8"/>
                <a:gd name="T2" fmla="*/ 12 w 18"/>
                <a:gd name="T3" fmla="*/ 0 h 8"/>
                <a:gd name="T4" fmla="*/ 16 w 18"/>
                <a:gd name="T5" fmla="*/ 4 h 8"/>
                <a:gd name="T6" fmla="*/ 18 w 18"/>
                <a:gd name="T7" fmla="*/ 8 h 8"/>
                <a:gd name="T8" fmla="*/ 12 w 18"/>
                <a:gd name="T9" fmla="*/ 8 h 8"/>
                <a:gd name="T10" fmla="*/ 4 w 18"/>
                <a:gd name="T11" fmla="*/ 6 h 8"/>
                <a:gd name="T12" fmla="*/ 0 w 18"/>
                <a:gd name="T13" fmla="*/ 4 h 8"/>
                <a:gd name="T14" fmla="*/ 2 w 18"/>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 h="8">
                  <a:moveTo>
                    <a:pt x="2" y="0"/>
                  </a:moveTo>
                  <a:lnTo>
                    <a:pt x="12" y="0"/>
                  </a:lnTo>
                  <a:lnTo>
                    <a:pt x="16" y="4"/>
                  </a:lnTo>
                  <a:lnTo>
                    <a:pt x="18" y="8"/>
                  </a:lnTo>
                  <a:lnTo>
                    <a:pt x="12" y="8"/>
                  </a:lnTo>
                  <a:lnTo>
                    <a:pt x="4" y="6"/>
                  </a:lnTo>
                  <a:lnTo>
                    <a:pt x="0" y="4"/>
                  </a:lnTo>
                  <a:lnTo>
                    <a:pt x="2" y="0"/>
                  </a:lnTo>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69" name="Freeform 39">
              <a:extLst>
                <a:ext uri="{FF2B5EF4-FFF2-40B4-BE49-F238E27FC236}">
                  <a16:creationId xmlns:a16="http://schemas.microsoft.com/office/drawing/2014/main" id="{B15798D5-6969-D1F7-9F3D-9B9399FC30A5}"/>
                </a:ext>
              </a:extLst>
            </p:cNvPr>
            <p:cNvSpPr>
              <a:spLocks/>
            </p:cNvSpPr>
            <p:nvPr/>
          </p:nvSpPr>
          <p:spPr bwMode="auto">
            <a:xfrm>
              <a:off x="7918450" y="4687436"/>
              <a:ext cx="23813" cy="30177"/>
            </a:xfrm>
            <a:custGeom>
              <a:avLst/>
              <a:gdLst>
                <a:gd name="T0" fmla="*/ 0 w 15"/>
                <a:gd name="T1" fmla="*/ 0 h 19"/>
                <a:gd name="T2" fmla="*/ 6 w 15"/>
                <a:gd name="T3" fmla="*/ 0 h 19"/>
                <a:gd name="T4" fmla="*/ 11 w 15"/>
                <a:gd name="T5" fmla="*/ 12 h 19"/>
                <a:gd name="T6" fmla="*/ 15 w 15"/>
                <a:gd name="T7" fmla="*/ 17 h 19"/>
                <a:gd name="T8" fmla="*/ 15 w 15"/>
                <a:gd name="T9" fmla="*/ 19 h 19"/>
                <a:gd name="T10" fmla="*/ 4 w 15"/>
                <a:gd name="T11" fmla="*/ 8 h 19"/>
                <a:gd name="T12" fmla="*/ 0 w 15"/>
                <a:gd name="T13" fmla="*/ 0 h 19"/>
              </a:gdLst>
              <a:ahLst/>
              <a:cxnLst>
                <a:cxn ang="0">
                  <a:pos x="T0" y="T1"/>
                </a:cxn>
                <a:cxn ang="0">
                  <a:pos x="T2" y="T3"/>
                </a:cxn>
                <a:cxn ang="0">
                  <a:pos x="T4" y="T5"/>
                </a:cxn>
                <a:cxn ang="0">
                  <a:pos x="T6" y="T7"/>
                </a:cxn>
                <a:cxn ang="0">
                  <a:pos x="T8" y="T9"/>
                </a:cxn>
                <a:cxn ang="0">
                  <a:pos x="T10" y="T11"/>
                </a:cxn>
                <a:cxn ang="0">
                  <a:pos x="T12" y="T13"/>
                </a:cxn>
              </a:cxnLst>
              <a:rect l="0" t="0" r="r" b="b"/>
              <a:pathLst>
                <a:path w="15" h="19">
                  <a:moveTo>
                    <a:pt x="0" y="0"/>
                  </a:moveTo>
                  <a:lnTo>
                    <a:pt x="6" y="0"/>
                  </a:lnTo>
                  <a:lnTo>
                    <a:pt x="11" y="12"/>
                  </a:lnTo>
                  <a:lnTo>
                    <a:pt x="15" y="17"/>
                  </a:lnTo>
                  <a:lnTo>
                    <a:pt x="15" y="19"/>
                  </a:lnTo>
                  <a:lnTo>
                    <a:pt x="4" y="8"/>
                  </a:lnTo>
                  <a:lnTo>
                    <a:pt x="0" y="0"/>
                  </a:lnTo>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70" name="Freeform 41">
              <a:extLst>
                <a:ext uri="{FF2B5EF4-FFF2-40B4-BE49-F238E27FC236}">
                  <a16:creationId xmlns:a16="http://schemas.microsoft.com/office/drawing/2014/main" id="{8E920817-87A6-5990-D534-F95127E5FD2E}"/>
                </a:ext>
              </a:extLst>
            </p:cNvPr>
            <p:cNvSpPr>
              <a:spLocks/>
            </p:cNvSpPr>
            <p:nvPr/>
          </p:nvSpPr>
          <p:spPr bwMode="auto">
            <a:xfrm>
              <a:off x="7099300" y="4687436"/>
              <a:ext cx="84138" cy="46059"/>
            </a:xfrm>
            <a:custGeom>
              <a:avLst/>
              <a:gdLst>
                <a:gd name="T0" fmla="*/ 48 w 53"/>
                <a:gd name="T1" fmla="*/ 0 h 29"/>
                <a:gd name="T2" fmla="*/ 53 w 53"/>
                <a:gd name="T3" fmla="*/ 2 h 29"/>
                <a:gd name="T4" fmla="*/ 48 w 53"/>
                <a:gd name="T5" fmla="*/ 4 h 29"/>
                <a:gd name="T6" fmla="*/ 34 w 53"/>
                <a:gd name="T7" fmla="*/ 12 h 29"/>
                <a:gd name="T8" fmla="*/ 23 w 53"/>
                <a:gd name="T9" fmla="*/ 13 h 29"/>
                <a:gd name="T10" fmla="*/ 23 w 53"/>
                <a:gd name="T11" fmla="*/ 10 h 29"/>
                <a:gd name="T12" fmla="*/ 21 w 53"/>
                <a:gd name="T13" fmla="*/ 10 h 29"/>
                <a:gd name="T14" fmla="*/ 23 w 53"/>
                <a:gd name="T15" fmla="*/ 10 h 29"/>
                <a:gd name="T16" fmla="*/ 23 w 53"/>
                <a:gd name="T17" fmla="*/ 13 h 29"/>
                <a:gd name="T18" fmla="*/ 13 w 53"/>
                <a:gd name="T19" fmla="*/ 25 h 29"/>
                <a:gd name="T20" fmla="*/ 0 w 53"/>
                <a:gd name="T21" fmla="*/ 29 h 29"/>
                <a:gd name="T22" fmla="*/ 0 w 53"/>
                <a:gd name="T23" fmla="*/ 27 h 29"/>
                <a:gd name="T24" fmla="*/ 0 w 53"/>
                <a:gd name="T25" fmla="*/ 21 h 29"/>
                <a:gd name="T26" fmla="*/ 5 w 53"/>
                <a:gd name="T27" fmla="*/ 13 h 29"/>
                <a:gd name="T28" fmla="*/ 21 w 53"/>
                <a:gd name="T29" fmla="*/ 8 h 29"/>
                <a:gd name="T30" fmla="*/ 23 w 53"/>
                <a:gd name="T31" fmla="*/ 4 h 29"/>
                <a:gd name="T32" fmla="*/ 34 w 53"/>
                <a:gd name="T33" fmla="*/ 2 h 29"/>
                <a:gd name="T34" fmla="*/ 44 w 53"/>
                <a:gd name="T35" fmla="*/ 2 h 29"/>
                <a:gd name="T36" fmla="*/ 48 w 53"/>
                <a:gd name="T37"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3" h="29">
                  <a:moveTo>
                    <a:pt x="48" y="0"/>
                  </a:moveTo>
                  <a:lnTo>
                    <a:pt x="53" y="2"/>
                  </a:lnTo>
                  <a:lnTo>
                    <a:pt x="48" y="4"/>
                  </a:lnTo>
                  <a:lnTo>
                    <a:pt x="34" y="12"/>
                  </a:lnTo>
                  <a:lnTo>
                    <a:pt x="23" y="13"/>
                  </a:lnTo>
                  <a:lnTo>
                    <a:pt x="23" y="10"/>
                  </a:lnTo>
                  <a:lnTo>
                    <a:pt x="21" y="10"/>
                  </a:lnTo>
                  <a:lnTo>
                    <a:pt x="23" y="10"/>
                  </a:lnTo>
                  <a:lnTo>
                    <a:pt x="23" y="13"/>
                  </a:lnTo>
                  <a:lnTo>
                    <a:pt x="13" y="25"/>
                  </a:lnTo>
                  <a:lnTo>
                    <a:pt x="0" y="29"/>
                  </a:lnTo>
                  <a:lnTo>
                    <a:pt x="0" y="27"/>
                  </a:lnTo>
                  <a:lnTo>
                    <a:pt x="0" y="21"/>
                  </a:lnTo>
                  <a:lnTo>
                    <a:pt x="5" y="13"/>
                  </a:lnTo>
                  <a:lnTo>
                    <a:pt x="21" y="8"/>
                  </a:lnTo>
                  <a:lnTo>
                    <a:pt x="23" y="4"/>
                  </a:lnTo>
                  <a:lnTo>
                    <a:pt x="34" y="2"/>
                  </a:lnTo>
                  <a:lnTo>
                    <a:pt x="44" y="2"/>
                  </a:lnTo>
                  <a:lnTo>
                    <a:pt x="48" y="0"/>
                  </a:lnTo>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71" name="Freeform 43">
              <a:extLst>
                <a:ext uri="{FF2B5EF4-FFF2-40B4-BE49-F238E27FC236}">
                  <a16:creationId xmlns:a16="http://schemas.microsoft.com/office/drawing/2014/main" id="{DEC9EF76-D75A-9B38-FDAC-2843276F4A80}"/>
                </a:ext>
              </a:extLst>
            </p:cNvPr>
            <p:cNvSpPr>
              <a:spLocks/>
            </p:cNvSpPr>
            <p:nvPr/>
          </p:nvSpPr>
          <p:spPr bwMode="auto">
            <a:xfrm>
              <a:off x="6950075" y="4681083"/>
              <a:ext cx="50800" cy="22235"/>
            </a:xfrm>
            <a:custGeom>
              <a:avLst/>
              <a:gdLst>
                <a:gd name="T0" fmla="*/ 17 w 32"/>
                <a:gd name="T1" fmla="*/ 0 h 14"/>
                <a:gd name="T2" fmla="*/ 21 w 32"/>
                <a:gd name="T3" fmla="*/ 4 h 14"/>
                <a:gd name="T4" fmla="*/ 28 w 32"/>
                <a:gd name="T5" fmla="*/ 4 h 14"/>
                <a:gd name="T6" fmla="*/ 32 w 32"/>
                <a:gd name="T7" fmla="*/ 8 h 14"/>
                <a:gd name="T8" fmla="*/ 17 w 32"/>
                <a:gd name="T9" fmla="*/ 12 h 14"/>
                <a:gd name="T10" fmla="*/ 7 w 32"/>
                <a:gd name="T11" fmla="*/ 14 h 14"/>
                <a:gd name="T12" fmla="*/ 0 w 32"/>
                <a:gd name="T13" fmla="*/ 14 h 14"/>
                <a:gd name="T14" fmla="*/ 5 w 32"/>
                <a:gd name="T15" fmla="*/ 6 h 14"/>
                <a:gd name="T16" fmla="*/ 13 w 32"/>
                <a:gd name="T17" fmla="*/ 6 h 14"/>
                <a:gd name="T18" fmla="*/ 17 w 32"/>
                <a:gd name="T19"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14">
                  <a:moveTo>
                    <a:pt x="17" y="0"/>
                  </a:moveTo>
                  <a:lnTo>
                    <a:pt x="21" y="4"/>
                  </a:lnTo>
                  <a:lnTo>
                    <a:pt x="28" y="4"/>
                  </a:lnTo>
                  <a:lnTo>
                    <a:pt x="32" y="8"/>
                  </a:lnTo>
                  <a:lnTo>
                    <a:pt x="17" y="12"/>
                  </a:lnTo>
                  <a:lnTo>
                    <a:pt x="7" y="14"/>
                  </a:lnTo>
                  <a:lnTo>
                    <a:pt x="0" y="14"/>
                  </a:lnTo>
                  <a:lnTo>
                    <a:pt x="5" y="6"/>
                  </a:lnTo>
                  <a:lnTo>
                    <a:pt x="13" y="6"/>
                  </a:lnTo>
                  <a:lnTo>
                    <a:pt x="17" y="0"/>
                  </a:lnTo>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72" name="Freeform 45">
              <a:extLst>
                <a:ext uri="{FF2B5EF4-FFF2-40B4-BE49-F238E27FC236}">
                  <a16:creationId xmlns:a16="http://schemas.microsoft.com/office/drawing/2014/main" id="{F0E7540A-EA41-7192-605B-D86C4F642211}"/>
                </a:ext>
              </a:extLst>
            </p:cNvPr>
            <p:cNvSpPr>
              <a:spLocks/>
            </p:cNvSpPr>
            <p:nvPr/>
          </p:nvSpPr>
          <p:spPr bwMode="auto">
            <a:xfrm>
              <a:off x="7023100" y="4681083"/>
              <a:ext cx="63500" cy="19059"/>
            </a:xfrm>
            <a:custGeom>
              <a:avLst/>
              <a:gdLst>
                <a:gd name="T0" fmla="*/ 40 w 40"/>
                <a:gd name="T1" fmla="*/ 0 h 12"/>
                <a:gd name="T2" fmla="*/ 38 w 40"/>
                <a:gd name="T3" fmla="*/ 8 h 12"/>
                <a:gd name="T4" fmla="*/ 17 w 40"/>
                <a:gd name="T5" fmla="*/ 12 h 12"/>
                <a:gd name="T6" fmla="*/ 0 w 40"/>
                <a:gd name="T7" fmla="*/ 10 h 12"/>
                <a:gd name="T8" fmla="*/ 0 w 40"/>
                <a:gd name="T9" fmla="*/ 6 h 12"/>
                <a:gd name="T10" fmla="*/ 9 w 40"/>
                <a:gd name="T11" fmla="*/ 2 h 12"/>
                <a:gd name="T12" fmla="*/ 19 w 40"/>
                <a:gd name="T13" fmla="*/ 8 h 12"/>
                <a:gd name="T14" fmla="*/ 27 w 40"/>
                <a:gd name="T15" fmla="*/ 6 h 12"/>
                <a:gd name="T16" fmla="*/ 40 w 40"/>
                <a:gd name="T17"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 h="12">
                  <a:moveTo>
                    <a:pt x="40" y="0"/>
                  </a:moveTo>
                  <a:lnTo>
                    <a:pt x="38" y="8"/>
                  </a:lnTo>
                  <a:lnTo>
                    <a:pt x="17" y="12"/>
                  </a:lnTo>
                  <a:lnTo>
                    <a:pt x="0" y="10"/>
                  </a:lnTo>
                  <a:lnTo>
                    <a:pt x="0" y="6"/>
                  </a:lnTo>
                  <a:lnTo>
                    <a:pt x="9" y="2"/>
                  </a:lnTo>
                  <a:lnTo>
                    <a:pt x="19" y="8"/>
                  </a:lnTo>
                  <a:lnTo>
                    <a:pt x="27" y="6"/>
                  </a:lnTo>
                  <a:lnTo>
                    <a:pt x="40" y="0"/>
                  </a:lnTo>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73" name="Freeform 47">
              <a:extLst>
                <a:ext uri="{FF2B5EF4-FFF2-40B4-BE49-F238E27FC236}">
                  <a16:creationId xmlns:a16="http://schemas.microsoft.com/office/drawing/2014/main" id="{7742F3B1-E957-AEB3-1A1F-F06BD55F3B06}"/>
                </a:ext>
              </a:extLst>
            </p:cNvPr>
            <p:cNvSpPr>
              <a:spLocks/>
            </p:cNvSpPr>
            <p:nvPr/>
          </p:nvSpPr>
          <p:spPr bwMode="auto">
            <a:xfrm>
              <a:off x="7866062" y="4666789"/>
              <a:ext cx="39688" cy="27000"/>
            </a:xfrm>
            <a:custGeom>
              <a:avLst/>
              <a:gdLst>
                <a:gd name="T0" fmla="*/ 4 w 25"/>
                <a:gd name="T1" fmla="*/ 0 h 17"/>
                <a:gd name="T2" fmla="*/ 10 w 25"/>
                <a:gd name="T3" fmla="*/ 1 h 17"/>
                <a:gd name="T4" fmla="*/ 19 w 25"/>
                <a:gd name="T5" fmla="*/ 7 h 17"/>
                <a:gd name="T6" fmla="*/ 23 w 25"/>
                <a:gd name="T7" fmla="*/ 13 h 17"/>
                <a:gd name="T8" fmla="*/ 25 w 25"/>
                <a:gd name="T9" fmla="*/ 17 h 17"/>
                <a:gd name="T10" fmla="*/ 14 w 25"/>
                <a:gd name="T11" fmla="*/ 9 h 17"/>
                <a:gd name="T12" fmla="*/ 8 w 25"/>
                <a:gd name="T13" fmla="*/ 3 h 17"/>
                <a:gd name="T14" fmla="*/ 0 w 25"/>
                <a:gd name="T15" fmla="*/ 0 h 17"/>
                <a:gd name="T16" fmla="*/ 4 w 25"/>
                <a:gd name="T17"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17">
                  <a:moveTo>
                    <a:pt x="4" y="0"/>
                  </a:moveTo>
                  <a:lnTo>
                    <a:pt x="10" y="1"/>
                  </a:lnTo>
                  <a:lnTo>
                    <a:pt x="19" y="7"/>
                  </a:lnTo>
                  <a:lnTo>
                    <a:pt x="23" y="13"/>
                  </a:lnTo>
                  <a:lnTo>
                    <a:pt x="25" y="17"/>
                  </a:lnTo>
                  <a:lnTo>
                    <a:pt x="14" y="9"/>
                  </a:lnTo>
                  <a:lnTo>
                    <a:pt x="8" y="3"/>
                  </a:lnTo>
                  <a:lnTo>
                    <a:pt x="0" y="0"/>
                  </a:lnTo>
                  <a:lnTo>
                    <a:pt x="4" y="0"/>
                  </a:lnTo>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74" name="Freeform 49">
              <a:extLst>
                <a:ext uri="{FF2B5EF4-FFF2-40B4-BE49-F238E27FC236}">
                  <a16:creationId xmlns:a16="http://schemas.microsoft.com/office/drawing/2014/main" id="{A6328C6B-43F3-60B1-20A8-CB78F96C7B70}"/>
                </a:ext>
              </a:extLst>
            </p:cNvPr>
            <p:cNvSpPr>
              <a:spLocks/>
            </p:cNvSpPr>
            <p:nvPr/>
          </p:nvSpPr>
          <p:spPr bwMode="auto">
            <a:xfrm>
              <a:off x="7829550" y="4650906"/>
              <a:ext cx="25400" cy="15882"/>
            </a:xfrm>
            <a:custGeom>
              <a:avLst/>
              <a:gdLst>
                <a:gd name="T0" fmla="*/ 2 w 16"/>
                <a:gd name="T1" fmla="*/ 0 h 10"/>
                <a:gd name="T2" fmla="*/ 10 w 16"/>
                <a:gd name="T3" fmla="*/ 4 h 10"/>
                <a:gd name="T4" fmla="*/ 16 w 16"/>
                <a:gd name="T5" fmla="*/ 10 h 10"/>
                <a:gd name="T6" fmla="*/ 12 w 16"/>
                <a:gd name="T7" fmla="*/ 10 h 10"/>
                <a:gd name="T8" fmla="*/ 6 w 16"/>
                <a:gd name="T9" fmla="*/ 6 h 10"/>
                <a:gd name="T10" fmla="*/ 0 w 16"/>
                <a:gd name="T11" fmla="*/ 0 h 10"/>
                <a:gd name="T12" fmla="*/ 2 w 16"/>
                <a:gd name="T13" fmla="*/ 0 h 10"/>
              </a:gdLst>
              <a:ahLst/>
              <a:cxnLst>
                <a:cxn ang="0">
                  <a:pos x="T0" y="T1"/>
                </a:cxn>
                <a:cxn ang="0">
                  <a:pos x="T2" y="T3"/>
                </a:cxn>
                <a:cxn ang="0">
                  <a:pos x="T4" y="T5"/>
                </a:cxn>
                <a:cxn ang="0">
                  <a:pos x="T6" y="T7"/>
                </a:cxn>
                <a:cxn ang="0">
                  <a:pos x="T8" y="T9"/>
                </a:cxn>
                <a:cxn ang="0">
                  <a:pos x="T10" y="T11"/>
                </a:cxn>
                <a:cxn ang="0">
                  <a:pos x="T12" y="T13"/>
                </a:cxn>
              </a:cxnLst>
              <a:rect l="0" t="0" r="r" b="b"/>
              <a:pathLst>
                <a:path w="16" h="10">
                  <a:moveTo>
                    <a:pt x="2" y="0"/>
                  </a:moveTo>
                  <a:lnTo>
                    <a:pt x="10" y="4"/>
                  </a:lnTo>
                  <a:lnTo>
                    <a:pt x="16" y="10"/>
                  </a:lnTo>
                  <a:lnTo>
                    <a:pt x="12" y="10"/>
                  </a:lnTo>
                  <a:lnTo>
                    <a:pt x="6" y="6"/>
                  </a:lnTo>
                  <a:lnTo>
                    <a:pt x="0" y="0"/>
                  </a:lnTo>
                  <a:lnTo>
                    <a:pt x="2" y="0"/>
                  </a:lnTo>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75" name="Freeform 51">
              <a:extLst>
                <a:ext uri="{FF2B5EF4-FFF2-40B4-BE49-F238E27FC236}">
                  <a16:creationId xmlns:a16="http://schemas.microsoft.com/office/drawing/2014/main" id="{F269A059-E2BB-2545-865E-EDFF7F243A4A}"/>
                </a:ext>
              </a:extLst>
            </p:cNvPr>
            <p:cNvSpPr>
              <a:spLocks/>
            </p:cNvSpPr>
            <p:nvPr/>
          </p:nvSpPr>
          <p:spPr bwMode="auto">
            <a:xfrm>
              <a:off x="6699250" y="4635024"/>
              <a:ext cx="228600" cy="61941"/>
            </a:xfrm>
            <a:custGeom>
              <a:avLst/>
              <a:gdLst>
                <a:gd name="T0" fmla="*/ 8 w 144"/>
                <a:gd name="T1" fmla="*/ 0 h 39"/>
                <a:gd name="T2" fmla="*/ 25 w 144"/>
                <a:gd name="T3" fmla="*/ 0 h 39"/>
                <a:gd name="T4" fmla="*/ 37 w 144"/>
                <a:gd name="T5" fmla="*/ 4 h 39"/>
                <a:gd name="T6" fmla="*/ 43 w 144"/>
                <a:gd name="T7" fmla="*/ 6 h 39"/>
                <a:gd name="T8" fmla="*/ 44 w 144"/>
                <a:gd name="T9" fmla="*/ 10 h 39"/>
                <a:gd name="T10" fmla="*/ 71 w 144"/>
                <a:gd name="T11" fmla="*/ 12 h 39"/>
                <a:gd name="T12" fmla="*/ 73 w 144"/>
                <a:gd name="T13" fmla="*/ 6 h 39"/>
                <a:gd name="T14" fmla="*/ 100 w 144"/>
                <a:gd name="T15" fmla="*/ 12 h 39"/>
                <a:gd name="T16" fmla="*/ 106 w 144"/>
                <a:gd name="T17" fmla="*/ 21 h 39"/>
                <a:gd name="T18" fmla="*/ 125 w 144"/>
                <a:gd name="T19" fmla="*/ 23 h 39"/>
                <a:gd name="T20" fmla="*/ 144 w 144"/>
                <a:gd name="T21" fmla="*/ 33 h 39"/>
                <a:gd name="T22" fmla="*/ 127 w 144"/>
                <a:gd name="T23" fmla="*/ 39 h 39"/>
                <a:gd name="T24" fmla="*/ 112 w 144"/>
                <a:gd name="T25" fmla="*/ 33 h 39"/>
                <a:gd name="T26" fmla="*/ 100 w 144"/>
                <a:gd name="T27" fmla="*/ 33 h 39"/>
                <a:gd name="T28" fmla="*/ 85 w 144"/>
                <a:gd name="T29" fmla="*/ 33 h 39"/>
                <a:gd name="T30" fmla="*/ 71 w 144"/>
                <a:gd name="T31" fmla="*/ 29 h 39"/>
                <a:gd name="T32" fmla="*/ 56 w 144"/>
                <a:gd name="T33" fmla="*/ 23 h 39"/>
                <a:gd name="T34" fmla="*/ 44 w 144"/>
                <a:gd name="T35" fmla="*/ 21 h 39"/>
                <a:gd name="T36" fmla="*/ 41 w 144"/>
                <a:gd name="T37" fmla="*/ 23 h 39"/>
                <a:gd name="T38" fmla="*/ 16 w 144"/>
                <a:gd name="T39" fmla="*/ 20 h 39"/>
                <a:gd name="T40" fmla="*/ 12 w 144"/>
                <a:gd name="T41" fmla="*/ 12 h 39"/>
                <a:gd name="T42" fmla="*/ 0 w 144"/>
                <a:gd name="T43" fmla="*/ 12 h 39"/>
                <a:gd name="T44" fmla="*/ 8 w 144"/>
                <a:gd name="T45" fmla="*/ 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44" h="39">
                  <a:moveTo>
                    <a:pt x="8" y="0"/>
                  </a:moveTo>
                  <a:lnTo>
                    <a:pt x="25" y="0"/>
                  </a:lnTo>
                  <a:lnTo>
                    <a:pt x="37" y="4"/>
                  </a:lnTo>
                  <a:lnTo>
                    <a:pt x="43" y="6"/>
                  </a:lnTo>
                  <a:lnTo>
                    <a:pt x="44" y="10"/>
                  </a:lnTo>
                  <a:lnTo>
                    <a:pt x="71" y="12"/>
                  </a:lnTo>
                  <a:lnTo>
                    <a:pt x="73" y="6"/>
                  </a:lnTo>
                  <a:lnTo>
                    <a:pt x="100" y="12"/>
                  </a:lnTo>
                  <a:lnTo>
                    <a:pt x="106" y="21"/>
                  </a:lnTo>
                  <a:lnTo>
                    <a:pt x="125" y="23"/>
                  </a:lnTo>
                  <a:lnTo>
                    <a:pt x="144" y="33"/>
                  </a:lnTo>
                  <a:lnTo>
                    <a:pt x="127" y="39"/>
                  </a:lnTo>
                  <a:lnTo>
                    <a:pt x="112" y="33"/>
                  </a:lnTo>
                  <a:lnTo>
                    <a:pt x="100" y="33"/>
                  </a:lnTo>
                  <a:lnTo>
                    <a:pt x="85" y="33"/>
                  </a:lnTo>
                  <a:lnTo>
                    <a:pt x="71" y="29"/>
                  </a:lnTo>
                  <a:lnTo>
                    <a:pt x="56" y="23"/>
                  </a:lnTo>
                  <a:lnTo>
                    <a:pt x="44" y="21"/>
                  </a:lnTo>
                  <a:lnTo>
                    <a:pt x="41" y="23"/>
                  </a:lnTo>
                  <a:lnTo>
                    <a:pt x="16" y="20"/>
                  </a:lnTo>
                  <a:lnTo>
                    <a:pt x="12" y="12"/>
                  </a:lnTo>
                  <a:lnTo>
                    <a:pt x="0" y="12"/>
                  </a:lnTo>
                  <a:lnTo>
                    <a:pt x="8" y="0"/>
                  </a:lnTo>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76" name="Freeform 53">
              <a:extLst>
                <a:ext uri="{FF2B5EF4-FFF2-40B4-BE49-F238E27FC236}">
                  <a16:creationId xmlns:a16="http://schemas.microsoft.com/office/drawing/2014/main" id="{1F15B2CD-DCA9-24A5-F1B4-16A367CF1954}"/>
                </a:ext>
              </a:extLst>
            </p:cNvPr>
            <p:cNvSpPr>
              <a:spLocks/>
            </p:cNvSpPr>
            <p:nvPr/>
          </p:nvSpPr>
          <p:spPr bwMode="auto">
            <a:xfrm>
              <a:off x="7332662" y="4623907"/>
              <a:ext cx="15875" cy="30177"/>
            </a:xfrm>
            <a:custGeom>
              <a:avLst/>
              <a:gdLst>
                <a:gd name="T0" fmla="*/ 6 w 10"/>
                <a:gd name="T1" fmla="*/ 0 h 19"/>
                <a:gd name="T2" fmla="*/ 10 w 10"/>
                <a:gd name="T3" fmla="*/ 4 h 19"/>
                <a:gd name="T4" fmla="*/ 10 w 10"/>
                <a:gd name="T5" fmla="*/ 7 h 19"/>
                <a:gd name="T6" fmla="*/ 10 w 10"/>
                <a:gd name="T7" fmla="*/ 9 h 19"/>
                <a:gd name="T8" fmla="*/ 2 w 10"/>
                <a:gd name="T9" fmla="*/ 19 h 19"/>
                <a:gd name="T10" fmla="*/ 0 w 10"/>
                <a:gd name="T11" fmla="*/ 9 h 19"/>
                <a:gd name="T12" fmla="*/ 2 w 10"/>
                <a:gd name="T13" fmla="*/ 5 h 19"/>
                <a:gd name="T14" fmla="*/ 6 w 10"/>
                <a:gd name="T15" fmla="*/ 0 h 1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19">
                  <a:moveTo>
                    <a:pt x="6" y="0"/>
                  </a:moveTo>
                  <a:lnTo>
                    <a:pt x="10" y="4"/>
                  </a:lnTo>
                  <a:lnTo>
                    <a:pt x="10" y="7"/>
                  </a:lnTo>
                  <a:lnTo>
                    <a:pt x="10" y="9"/>
                  </a:lnTo>
                  <a:lnTo>
                    <a:pt x="2" y="19"/>
                  </a:lnTo>
                  <a:lnTo>
                    <a:pt x="0" y="9"/>
                  </a:lnTo>
                  <a:lnTo>
                    <a:pt x="2" y="5"/>
                  </a:lnTo>
                  <a:lnTo>
                    <a:pt x="6" y="0"/>
                  </a:lnTo>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77" name="Freeform 55">
              <a:extLst>
                <a:ext uri="{FF2B5EF4-FFF2-40B4-BE49-F238E27FC236}">
                  <a16:creationId xmlns:a16="http://schemas.microsoft.com/office/drawing/2014/main" id="{DAA03ECC-BDDF-D4C3-C62B-9F45FF7A8B8D}"/>
                </a:ext>
              </a:extLst>
            </p:cNvPr>
            <p:cNvSpPr>
              <a:spLocks/>
            </p:cNvSpPr>
            <p:nvPr/>
          </p:nvSpPr>
          <p:spPr bwMode="auto">
            <a:xfrm>
              <a:off x="7786687" y="4614378"/>
              <a:ext cx="31750" cy="39706"/>
            </a:xfrm>
            <a:custGeom>
              <a:avLst/>
              <a:gdLst>
                <a:gd name="T0" fmla="*/ 2 w 20"/>
                <a:gd name="T1" fmla="*/ 0 h 25"/>
                <a:gd name="T2" fmla="*/ 4 w 20"/>
                <a:gd name="T3" fmla="*/ 4 h 25"/>
                <a:gd name="T4" fmla="*/ 6 w 20"/>
                <a:gd name="T5" fmla="*/ 8 h 25"/>
                <a:gd name="T6" fmla="*/ 14 w 20"/>
                <a:gd name="T7" fmla="*/ 15 h 25"/>
                <a:gd name="T8" fmla="*/ 20 w 20"/>
                <a:gd name="T9" fmla="*/ 21 h 25"/>
                <a:gd name="T10" fmla="*/ 20 w 20"/>
                <a:gd name="T11" fmla="*/ 23 h 25"/>
                <a:gd name="T12" fmla="*/ 16 w 20"/>
                <a:gd name="T13" fmla="*/ 25 h 25"/>
                <a:gd name="T14" fmla="*/ 8 w 20"/>
                <a:gd name="T15" fmla="*/ 21 h 25"/>
                <a:gd name="T16" fmla="*/ 2 w 20"/>
                <a:gd name="T17" fmla="*/ 13 h 25"/>
                <a:gd name="T18" fmla="*/ 0 w 20"/>
                <a:gd name="T19" fmla="*/ 0 h 25"/>
                <a:gd name="T20" fmla="*/ 2 w 20"/>
                <a:gd name="T21" fmla="*/ 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25">
                  <a:moveTo>
                    <a:pt x="2" y="0"/>
                  </a:moveTo>
                  <a:lnTo>
                    <a:pt x="4" y="4"/>
                  </a:lnTo>
                  <a:lnTo>
                    <a:pt x="6" y="8"/>
                  </a:lnTo>
                  <a:lnTo>
                    <a:pt x="14" y="15"/>
                  </a:lnTo>
                  <a:lnTo>
                    <a:pt x="20" y="21"/>
                  </a:lnTo>
                  <a:lnTo>
                    <a:pt x="20" y="23"/>
                  </a:lnTo>
                  <a:lnTo>
                    <a:pt x="16" y="25"/>
                  </a:lnTo>
                  <a:lnTo>
                    <a:pt x="8" y="21"/>
                  </a:lnTo>
                  <a:lnTo>
                    <a:pt x="2" y="13"/>
                  </a:lnTo>
                  <a:lnTo>
                    <a:pt x="0" y="0"/>
                  </a:lnTo>
                  <a:lnTo>
                    <a:pt x="2" y="0"/>
                  </a:lnTo>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78" name="Freeform 57">
              <a:extLst>
                <a:ext uri="{FF2B5EF4-FFF2-40B4-BE49-F238E27FC236}">
                  <a16:creationId xmlns:a16="http://schemas.microsoft.com/office/drawing/2014/main" id="{4217849C-FE81-0E63-0188-8228BEA96C2E}"/>
                </a:ext>
              </a:extLst>
            </p:cNvPr>
            <p:cNvSpPr>
              <a:spLocks/>
            </p:cNvSpPr>
            <p:nvPr/>
          </p:nvSpPr>
          <p:spPr bwMode="auto">
            <a:xfrm>
              <a:off x="7650162" y="4593731"/>
              <a:ext cx="88900" cy="47647"/>
            </a:xfrm>
            <a:custGeom>
              <a:avLst/>
              <a:gdLst>
                <a:gd name="T0" fmla="*/ 52 w 56"/>
                <a:gd name="T1" fmla="*/ 0 h 30"/>
                <a:gd name="T2" fmla="*/ 56 w 56"/>
                <a:gd name="T3" fmla="*/ 1 h 30"/>
                <a:gd name="T4" fmla="*/ 54 w 56"/>
                <a:gd name="T5" fmla="*/ 9 h 30"/>
                <a:gd name="T6" fmla="*/ 52 w 56"/>
                <a:gd name="T7" fmla="*/ 19 h 30"/>
                <a:gd name="T8" fmla="*/ 42 w 56"/>
                <a:gd name="T9" fmla="*/ 21 h 30"/>
                <a:gd name="T10" fmla="*/ 42 w 56"/>
                <a:gd name="T11" fmla="*/ 24 h 30"/>
                <a:gd name="T12" fmla="*/ 33 w 56"/>
                <a:gd name="T13" fmla="*/ 26 h 30"/>
                <a:gd name="T14" fmla="*/ 25 w 56"/>
                <a:gd name="T15" fmla="*/ 30 h 30"/>
                <a:gd name="T16" fmla="*/ 19 w 56"/>
                <a:gd name="T17" fmla="*/ 30 h 30"/>
                <a:gd name="T18" fmla="*/ 8 w 56"/>
                <a:gd name="T19" fmla="*/ 26 h 30"/>
                <a:gd name="T20" fmla="*/ 0 w 56"/>
                <a:gd name="T21" fmla="*/ 23 h 30"/>
                <a:gd name="T22" fmla="*/ 2 w 56"/>
                <a:gd name="T23" fmla="*/ 19 h 30"/>
                <a:gd name="T24" fmla="*/ 13 w 56"/>
                <a:gd name="T25" fmla="*/ 21 h 30"/>
                <a:gd name="T26" fmla="*/ 21 w 56"/>
                <a:gd name="T27" fmla="*/ 19 h 30"/>
                <a:gd name="T28" fmla="*/ 23 w 56"/>
                <a:gd name="T29" fmla="*/ 11 h 30"/>
                <a:gd name="T30" fmla="*/ 23 w 56"/>
                <a:gd name="T31" fmla="*/ 11 h 30"/>
                <a:gd name="T32" fmla="*/ 25 w 56"/>
                <a:gd name="T33" fmla="*/ 21 h 30"/>
                <a:gd name="T34" fmla="*/ 35 w 56"/>
                <a:gd name="T35" fmla="*/ 19 h 30"/>
                <a:gd name="T36" fmla="*/ 38 w 56"/>
                <a:gd name="T37" fmla="*/ 13 h 30"/>
                <a:gd name="T38" fmla="*/ 46 w 56"/>
                <a:gd name="T39" fmla="*/ 7 h 30"/>
                <a:gd name="T40" fmla="*/ 44 w 56"/>
                <a:gd name="T41" fmla="*/ 0 h 30"/>
                <a:gd name="T42" fmla="*/ 52 w 56"/>
                <a:gd name="T43"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6" h="30">
                  <a:moveTo>
                    <a:pt x="52" y="0"/>
                  </a:moveTo>
                  <a:lnTo>
                    <a:pt x="56" y="1"/>
                  </a:lnTo>
                  <a:lnTo>
                    <a:pt x="54" y="9"/>
                  </a:lnTo>
                  <a:lnTo>
                    <a:pt x="52" y="19"/>
                  </a:lnTo>
                  <a:lnTo>
                    <a:pt x="42" y="21"/>
                  </a:lnTo>
                  <a:lnTo>
                    <a:pt x="42" y="24"/>
                  </a:lnTo>
                  <a:lnTo>
                    <a:pt x="33" y="26"/>
                  </a:lnTo>
                  <a:lnTo>
                    <a:pt x="25" y="30"/>
                  </a:lnTo>
                  <a:lnTo>
                    <a:pt x="19" y="30"/>
                  </a:lnTo>
                  <a:lnTo>
                    <a:pt x="8" y="26"/>
                  </a:lnTo>
                  <a:lnTo>
                    <a:pt x="0" y="23"/>
                  </a:lnTo>
                  <a:lnTo>
                    <a:pt x="2" y="19"/>
                  </a:lnTo>
                  <a:lnTo>
                    <a:pt x="13" y="21"/>
                  </a:lnTo>
                  <a:lnTo>
                    <a:pt x="21" y="19"/>
                  </a:lnTo>
                  <a:lnTo>
                    <a:pt x="23" y="11"/>
                  </a:lnTo>
                  <a:lnTo>
                    <a:pt x="23" y="11"/>
                  </a:lnTo>
                  <a:lnTo>
                    <a:pt x="25" y="21"/>
                  </a:lnTo>
                  <a:lnTo>
                    <a:pt x="35" y="19"/>
                  </a:lnTo>
                  <a:lnTo>
                    <a:pt x="38" y="13"/>
                  </a:lnTo>
                  <a:lnTo>
                    <a:pt x="46" y="7"/>
                  </a:lnTo>
                  <a:lnTo>
                    <a:pt x="44" y="0"/>
                  </a:lnTo>
                  <a:lnTo>
                    <a:pt x="52" y="0"/>
                  </a:lnTo>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79" name="Freeform 59">
              <a:extLst>
                <a:ext uri="{FF2B5EF4-FFF2-40B4-BE49-F238E27FC236}">
                  <a16:creationId xmlns:a16="http://schemas.microsoft.com/office/drawing/2014/main" id="{92E3985B-5EBA-99E1-09E1-161D22E49166}"/>
                </a:ext>
              </a:extLst>
            </p:cNvPr>
            <p:cNvSpPr>
              <a:spLocks/>
            </p:cNvSpPr>
            <p:nvPr/>
          </p:nvSpPr>
          <p:spPr bwMode="auto">
            <a:xfrm>
              <a:off x="7153275" y="4571495"/>
              <a:ext cx="30163" cy="15882"/>
            </a:xfrm>
            <a:custGeom>
              <a:avLst/>
              <a:gdLst>
                <a:gd name="T0" fmla="*/ 16 w 19"/>
                <a:gd name="T1" fmla="*/ 0 h 10"/>
                <a:gd name="T2" fmla="*/ 19 w 19"/>
                <a:gd name="T3" fmla="*/ 4 h 10"/>
                <a:gd name="T4" fmla="*/ 14 w 19"/>
                <a:gd name="T5" fmla="*/ 10 h 10"/>
                <a:gd name="T6" fmla="*/ 4 w 19"/>
                <a:gd name="T7" fmla="*/ 8 h 10"/>
                <a:gd name="T8" fmla="*/ 0 w 19"/>
                <a:gd name="T9" fmla="*/ 0 h 10"/>
                <a:gd name="T10" fmla="*/ 16 w 19"/>
                <a:gd name="T11" fmla="*/ 0 h 10"/>
              </a:gdLst>
              <a:ahLst/>
              <a:cxnLst>
                <a:cxn ang="0">
                  <a:pos x="T0" y="T1"/>
                </a:cxn>
                <a:cxn ang="0">
                  <a:pos x="T2" y="T3"/>
                </a:cxn>
                <a:cxn ang="0">
                  <a:pos x="T4" y="T5"/>
                </a:cxn>
                <a:cxn ang="0">
                  <a:pos x="T6" y="T7"/>
                </a:cxn>
                <a:cxn ang="0">
                  <a:pos x="T8" y="T9"/>
                </a:cxn>
                <a:cxn ang="0">
                  <a:pos x="T10" y="T11"/>
                </a:cxn>
              </a:cxnLst>
              <a:rect l="0" t="0" r="r" b="b"/>
              <a:pathLst>
                <a:path w="19" h="10">
                  <a:moveTo>
                    <a:pt x="16" y="0"/>
                  </a:moveTo>
                  <a:lnTo>
                    <a:pt x="19" y="4"/>
                  </a:lnTo>
                  <a:lnTo>
                    <a:pt x="14" y="10"/>
                  </a:lnTo>
                  <a:lnTo>
                    <a:pt x="4" y="8"/>
                  </a:lnTo>
                  <a:lnTo>
                    <a:pt x="0" y="0"/>
                  </a:lnTo>
                  <a:lnTo>
                    <a:pt x="16" y="0"/>
                  </a:lnTo>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80" name="Freeform 61">
              <a:extLst>
                <a:ext uri="{FF2B5EF4-FFF2-40B4-BE49-F238E27FC236}">
                  <a16:creationId xmlns:a16="http://schemas.microsoft.com/office/drawing/2014/main" id="{3705E097-DC1D-E47F-856A-D33F9F39F4BF}"/>
                </a:ext>
              </a:extLst>
            </p:cNvPr>
            <p:cNvSpPr>
              <a:spLocks/>
            </p:cNvSpPr>
            <p:nvPr/>
          </p:nvSpPr>
          <p:spPr bwMode="auto">
            <a:xfrm>
              <a:off x="7196137" y="4565143"/>
              <a:ext cx="66675" cy="25411"/>
            </a:xfrm>
            <a:custGeom>
              <a:avLst/>
              <a:gdLst>
                <a:gd name="T0" fmla="*/ 19 w 42"/>
                <a:gd name="T1" fmla="*/ 0 h 16"/>
                <a:gd name="T2" fmla="*/ 37 w 42"/>
                <a:gd name="T3" fmla="*/ 2 h 16"/>
                <a:gd name="T4" fmla="*/ 42 w 42"/>
                <a:gd name="T5" fmla="*/ 16 h 16"/>
                <a:gd name="T6" fmla="*/ 31 w 42"/>
                <a:gd name="T7" fmla="*/ 8 h 16"/>
                <a:gd name="T8" fmla="*/ 17 w 42"/>
                <a:gd name="T9" fmla="*/ 8 h 16"/>
                <a:gd name="T10" fmla="*/ 10 w 42"/>
                <a:gd name="T11" fmla="*/ 8 h 16"/>
                <a:gd name="T12" fmla="*/ 0 w 42"/>
                <a:gd name="T13" fmla="*/ 8 h 16"/>
                <a:gd name="T14" fmla="*/ 4 w 42"/>
                <a:gd name="T15" fmla="*/ 0 h 16"/>
                <a:gd name="T16" fmla="*/ 19 w 42"/>
                <a:gd name="T17"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 h="16">
                  <a:moveTo>
                    <a:pt x="19" y="0"/>
                  </a:moveTo>
                  <a:lnTo>
                    <a:pt x="37" y="2"/>
                  </a:lnTo>
                  <a:lnTo>
                    <a:pt x="42" y="16"/>
                  </a:lnTo>
                  <a:lnTo>
                    <a:pt x="31" y="8"/>
                  </a:lnTo>
                  <a:lnTo>
                    <a:pt x="17" y="8"/>
                  </a:lnTo>
                  <a:lnTo>
                    <a:pt x="10" y="8"/>
                  </a:lnTo>
                  <a:lnTo>
                    <a:pt x="0" y="8"/>
                  </a:lnTo>
                  <a:lnTo>
                    <a:pt x="4" y="0"/>
                  </a:lnTo>
                  <a:lnTo>
                    <a:pt x="19" y="0"/>
                  </a:lnTo>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81" name="Freeform 63">
              <a:extLst>
                <a:ext uri="{FF2B5EF4-FFF2-40B4-BE49-F238E27FC236}">
                  <a16:creationId xmlns:a16="http://schemas.microsoft.com/office/drawing/2014/main" id="{5E61AAD4-2673-30D5-DE10-3792399B0130}"/>
                </a:ext>
              </a:extLst>
            </p:cNvPr>
            <p:cNvSpPr>
              <a:spLocks/>
            </p:cNvSpPr>
            <p:nvPr/>
          </p:nvSpPr>
          <p:spPr bwMode="auto">
            <a:xfrm>
              <a:off x="7702550" y="4555613"/>
              <a:ext cx="50800" cy="49235"/>
            </a:xfrm>
            <a:custGeom>
              <a:avLst/>
              <a:gdLst>
                <a:gd name="T0" fmla="*/ 3 w 32"/>
                <a:gd name="T1" fmla="*/ 0 h 31"/>
                <a:gd name="T2" fmla="*/ 9 w 32"/>
                <a:gd name="T3" fmla="*/ 6 h 31"/>
                <a:gd name="T4" fmla="*/ 15 w 32"/>
                <a:gd name="T5" fmla="*/ 8 h 31"/>
                <a:gd name="T6" fmla="*/ 21 w 32"/>
                <a:gd name="T7" fmla="*/ 12 h 31"/>
                <a:gd name="T8" fmla="*/ 26 w 32"/>
                <a:gd name="T9" fmla="*/ 18 h 31"/>
                <a:gd name="T10" fmla="*/ 30 w 32"/>
                <a:gd name="T11" fmla="*/ 22 h 31"/>
                <a:gd name="T12" fmla="*/ 32 w 32"/>
                <a:gd name="T13" fmla="*/ 29 h 31"/>
                <a:gd name="T14" fmla="*/ 30 w 32"/>
                <a:gd name="T15" fmla="*/ 31 h 31"/>
                <a:gd name="T16" fmla="*/ 26 w 32"/>
                <a:gd name="T17" fmla="*/ 24 h 31"/>
                <a:gd name="T18" fmla="*/ 23 w 32"/>
                <a:gd name="T19" fmla="*/ 20 h 31"/>
                <a:gd name="T20" fmla="*/ 17 w 32"/>
                <a:gd name="T21" fmla="*/ 14 h 31"/>
                <a:gd name="T22" fmla="*/ 9 w 32"/>
                <a:gd name="T23" fmla="*/ 8 h 31"/>
                <a:gd name="T24" fmla="*/ 0 w 32"/>
                <a:gd name="T25" fmla="*/ 4 h 31"/>
                <a:gd name="T26" fmla="*/ 3 w 32"/>
                <a:gd name="T27"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2" h="31">
                  <a:moveTo>
                    <a:pt x="3" y="0"/>
                  </a:moveTo>
                  <a:lnTo>
                    <a:pt x="9" y="6"/>
                  </a:lnTo>
                  <a:lnTo>
                    <a:pt x="15" y="8"/>
                  </a:lnTo>
                  <a:lnTo>
                    <a:pt x="21" y="12"/>
                  </a:lnTo>
                  <a:lnTo>
                    <a:pt x="26" y="18"/>
                  </a:lnTo>
                  <a:lnTo>
                    <a:pt x="30" y="22"/>
                  </a:lnTo>
                  <a:lnTo>
                    <a:pt x="32" y="29"/>
                  </a:lnTo>
                  <a:lnTo>
                    <a:pt x="30" y="31"/>
                  </a:lnTo>
                  <a:lnTo>
                    <a:pt x="26" y="24"/>
                  </a:lnTo>
                  <a:lnTo>
                    <a:pt x="23" y="20"/>
                  </a:lnTo>
                  <a:lnTo>
                    <a:pt x="17" y="14"/>
                  </a:lnTo>
                  <a:lnTo>
                    <a:pt x="9" y="8"/>
                  </a:lnTo>
                  <a:lnTo>
                    <a:pt x="0" y="4"/>
                  </a:lnTo>
                  <a:lnTo>
                    <a:pt x="3" y="0"/>
                  </a:lnTo>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82" name="Freeform 65">
              <a:extLst>
                <a:ext uri="{FF2B5EF4-FFF2-40B4-BE49-F238E27FC236}">
                  <a16:creationId xmlns:a16="http://schemas.microsoft.com/office/drawing/2014/main" id="{BD690C56-C645-4621-A1AB-52206CDCB24A}"/>
                </a:ext>
              </a:extLst>
            </p:cNvPr>
            <p:cNvSpPr>
              <a:spLocks/>
            </p:cNvSpPr>
            <p:nvPr/>
          </p:nvSpPr>
          <p:spPr bwMode="auto">
            <a:xfrm>
              <a:off x="7254875" y="4511143"/>
              <a:ext cx="450850" cy="228703"/>
            </a:xfrm>
            <a:custGeom>
              <a:avLst/>
              <a:gdLst>
                <a:gd name="T0" fmla="*/ 48 w 284"/>
                <a:gd name="T1" fmla="*/ 5 h 144"/>
                <a:gd name="T2" fmla="*/ 53 w 284"/>
                <a:gd name="T3" fmla="*/ 34 h 144"/>
                <a:gd name="T4" fmla="*/ 80 w 284"/>
                <a:gd name="T5" fmla="*/ 27 h 144"/>
                <a:gd name="T6" fmla="*/ 109 w 284"/>
                <a:gd name="T7" fmla="*/ 19 h 144"/>
                <a:gd name="T8" fmla="*/ 130 w 284"/>
                <a:gd name="T9" fmla="*/ 28 h 144"/>
                <a:gd name="T10" fmla="*/ 170 w 284"/>
                <a:gd name="T11" fmla="*/ 40 h 144"/>
                <a:gd name="T12" fmla="*/ 205 w 284"/>
                <a:gd name="T13" fmla="*/ 55 h 144"/>
                <a:gd name="T14" fmla="*/ 214 w 284"/>
                <a:gd name="T15" fmla="*/ 71 h 144"/>
                <a:gd name="T16" fmla="*/ 243 w 284"/>
                <a:gd name="T17" fmla="*/ 88 h 144"/>
                <a:gd name="T18" fmla="*/ 234 w 284"/>
                <a:gd name="T19" fmla="*/ 98 h 144"/>
                <a:gd name="T20" fmla="*/ 255 w 284"/>
                <a:gd name="T21" fmla="*/ 123 h 144"/>
                <a:gd name="T22" fmla="*/ 262 w 284"/>
                <a:gd name="T23" fmla="*/ 126 h 144"/>
                <a:gd name="T24" fmla="*/ 268 w 284"/>
                <a:gd name="T25" fmla="*/ 132 h 144"/>
                <a:gd name="T26" fmla="*/ 282 w 284"/>
                <a:gd name="T27" fmla="*/ 142 h 144"/>
                <a:gd name="T28" fmla="*/ 268 w 284"/>
                <a:gd name="T29" fmla="*/ 140 h 144"/>
                <a:gd name="T30" fmla="*/ 243 w 284"/>
                <a:gd name="T31" fmla="*/ 136 h 144"/>
                <a:gd name="T32" fmla="*/ 224 w 284"/>
                <a:gd name="T33" fmla="*/ 119 h 144"/>
                <a:gd name="T34" fmla="*/ 197 w 284"/>
                <a:gd name="T35" fmla="*/ 99 h 144"/>
                <a:gd name="T36" fmla="*/ 176 w 284"/>
                <a:gd name="T37" fmla="*/ 109 h 144"/>
                <a:gd name="T38" fmla="*/ 168 w 284"/>
                <a:gd name="T39" fmla="*/ 124 h 144"/>
                <a:gd name="T40" fmla="*/ 145 w 284"/>
                <a:gd name="T41" fmla="*/ 123 h 144"/>
                <a:gd name="T42" fmla="*/ 120 w 284"/>
                <a:gd name="T43" fmla="*/ 107 h 144"/>
                <a:gd name="T44" fmla="*/ 99 w 284"/>
                <a:gd name="T45" fmla="*/ 113 h 144"/>
                <a:gd name="T46" fmla="*/ 113 w 284"/>
                <a:gd name="T47" fmla="*/ 98 h 144"/>
                <a:gd name="T48" fmla="*/ 103 w 284"/>
                <a:gd name="T49" fmla="*/ 69 h 144"/>
                <a:gd name="T50" fmla="*/ 65 w 284"/>
                <a:gd name="T51" fmla="*/ 57 h 144"/>
                <a:gd name="T52" fmla="*/ 40 w 284"/>
                <a:gd name="T53" fmla="*/ 50 h 144"/>
                <a:gd name="T54" fmla="*/ 32 w 284"/>
                <a:gd name="T55" fmla="*/ 48 h 144"/>
                <a:gd name="T56" fmla="*/ 32 w 284"/>
                <a:gd name="T57" fmla="*/ 40 h 144"/>
                <a:gd name="T58" fmla="*/ 34 w 284"/>
                <a:gd name="T59" fmla="*/ 28 h 144"/>
                <a:gd name="T60" fmla="*/ 44 w 284"/>
                <a:gd name="T61" fmla="*/ 25 h 144"/>
                <a:gd name="T62" fmla="*/ 19 w 284"/>
                <a:gd name="T63" fmla="*/ 17 h 144"/>
                <a:gd name="T64" fmla="*/ 0 w 284"/>
                <a:gd name="T65" fmla="*/ 7 h 144"/>
                <a:gd name="T66" fmla="*/ 24 w 284"/>
                <a:gd name="T67"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84" h="144">
                  <a:moveTo>
                    <a:pt x="24" y="0"/>
                  </a:moveTo>
                  <a:lnTo>
                    <a:pt x="48" y="5"/>
                  </a:lnTo>
                  <a:lnTo>
                    <a:pt x="49" y="11"/>
                  </a:lnTo>
                  <a:lnTo>
                    <a:pt x="53" y="34"/>
                  </a:lnTo>
                  <a:lnTo>
                    <a:pt x="69" y="42"/>
                  </a:lnTo>
                  <a:lnTo>
                    <a:pt x="80" y="27"/>
                  </a:lnTo>
                  <a:lnTo>
                    <a:pt x="97" y="19"/>
                  </a:lnTo>
                  <a:lnTo>
                    <a:pt x="109" y="19"/>
                  </a:lnTo>
                  <a:lnTo>
                    <a:pt x="120" y="23"/>
                  </a:lnTo>
                  <a:lnTo>
                    <a:pt x="130" y="28"/>
                  </a:lnTo>
                  <a:lnTo>
                    <a:pt x="145" y="30"/>
                  </a:lnTo>
                  <a:lnTo>
                    <a:pt x="170" y="40"/>
                  </a:lnTo>
                  <a:lnTo>
                    <a:pt x="195" y="50"/>
                  </a:lnTo>
                  <a:lnTo>
                    <a:pt x="205" y="55"/>
                  </a:lnTo>
                  <a:lnTo>
                    <a:pt x="213" y="61"/>
                  </a:lnTo>
                  <a:lnTo>
                    <a:pt x="214" y="71"/>
                  </a:lnTo>
                  <a:lnTo>
                    <a:pt x="239" y="78"/>
                  </a:lnTo>
                  <a:lnTo>
                    <a:pt x="243" y="88"/>
                  </a:lnTo>
                  <a:lnTo>
                    <a:pt x="230" y="88"/>
                  </a:lnTo>
                  <a:lnTo>
                    <a:pt x="234" y="98"/>
                  </a:lnTo>
                  <a:lnTo>
                    <a:pt x="245" y="107"/>
                  </a:lnTo>
                  <a:lnTo>
                    <a:pt x="255" y="123"/>
                  </a:lnTo>
                  <a:lnTo>
                    <a:pt x="262" y="121"/>
                  </a:lnTo>
                  <a:lnTo>
                    <a:pt x="262" y="126"/>
                  </a:lnTo>
                  <a:lnTo>
                    <a:pt x="272" y="128"/>
                  </a:lnTo>
                  <a:lnTo>
                    <a:pt x="268" y="132"/>
                  </a:lnTo>
                  <a:lnTo>
                    <a:pt x="284" y="140"/>
                  </a:lnTo>
                  <a:lnTo>
                    <a:pt x="282" y="142"/>
                  </a:lnTo>
                  <a:lnTo>
                    <a:pt x="272" y="144"/>
                  </a:lnTo>
                  <a:lnTo>
                    <a:pt x="268" y="140"/>
                  </a:lnTo>
                  <a:lnTo>
                    <a:pt x="257" y="138"/>
                  </a:lnTo>
                  <a:lnTo>
                    <a:pt x="243" y="136"/>
                  </a:lnTo>
                  <a:lnTo>
                    <a:pt x="230" y="126"/>
                  </a:lnTo>
                  <a:lnTo>
                    <a:pt x="224" y="119"/>
                  </a:lnTo>
                  <a:lnTo>
                    <a:pt x="214" y="107"/>
                  </a:lnTo>
                  <a:lnTo>
                    <a:pt x="197" y="99"/>
                  </a:lnTo>
                  <a:lnTo>
                    <a:pt x="186" y="105"/>
                  </a:lnTo>
                  <a:lnTo>
                    <a:pt x="176" y="109"/>
                  </a:lnTo>
                  <a:lnTo>
                    <a:pt x="178" y="121"/>
                  </a:lnTo>
                  <a:lnTo>
                    <a:pt x="168" y="124"/>
                  </a:lnTo>
                  <a:lnTo>
                    <a:pt x="161" y="123"/>
                  </a:lnTo>
                  <a:lnTo>
                    <a:pt x="145" y="123"/>
                  </a:lnTo>
                  <a:lnTo>
                    <a:pt x="134" y="111"/>
                  </a:lnTo>
                  <a:lnTo>
                    <a:pt x="120" y="107"/>
                  </a:lnTo>
                  <a:lnTo>
                    <a:pt x="117" y="111"/>
                  </a:lnTo>
                  <a:lnTo>
                    <a:pt x="99" y="113"/>
                  </a:lnTo>
                  <a:lnTo>
                    <a:pt x="105" y="99"/>
                  </a:lnTo>
                  <a:lnTo>
                    <a:pt x="113" y="98"/>
                  </a:lnTo>
                  <a:lnTo>
                    <a:pt x="111" y="80"/>
                  </a:lnTo>
                  <a:lnTo>
                    <a:pt x="103" y="69"/>
                  </a:lnTo>
                  <a:lnTo>
                    <a:pt x="74" y="57"/>
                  </a:lnTo>
                  <a:lnTo>
                    <a:pt x="65" y="57"/>
                  </a:lnTo>
                  <a:lnTo>
                    <a:pt x="44" y="44"/>
                  </a:lnTo>
                  <a:lnTo>
                    <a:pt x="40" y="50"/>
                  </a:lnTo>
                  <a:lnTo>
                    <a:pt x="34" y="52"/>
                  </a:lnTo>
                  <a:lnTo>
                    <a:pt x="32" y="48"/>
                  </a:lnTo>
                  <a:lnTo>
                    <a:pt x="32" y="44"/>
                  </a:lnTo>
                  <a:lnTo>
                    <a:pt x="32" y="40"/>
                  </a:lnTo>
                  <a:lnTo>
                    <a:pt x="21" y="34"/>
                  </a:lnTo>
                  <a:lnTo>
                    <a:pt x="34" y="28"/>
                  </a:lnTo>
                  <a:lnTo>
                    <a:pt x="44" y="28"/>
                  </a:lnTo>
                  <a:lnTo>
                    <a:pt x="44" y="25"/>
                  </a:lnTo>
                  <a:lnTo>
                    <a:pt x="23" y="25"/>
                  </a:lnTo>
                  <a:lnTo>
                    <a:pt x="19" y="17"/>
                  </a:lnTo>
                  <a:lnTo>
                    <a:pt x="5" y="13"/>
                  </a:lnTo>
                  <a:lnTo>
                    <a:pt x="0" y="7"/>
                  </a:lnTo>
                  <a:lnTo>
                    <a:pt x="19" y="4"/>
                  </a:lnTo>
                  <a:lnTo>
                    <a:pt x="24" y="0"/>
                  </a:lnTo>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83" name="Freeform 67">
              <a:extLst>
                <a:ext uri="{FF2B5EF4-FFF2-40B4-BE49-F238E27FC236}">
                  <a16:creationId xmlns:a16="http://schemas.microsoft.com/office/drawing/2014/main" id="{CEF8CE7B-F96F-CC24-4D36-C2F5F2361B9C}"/>
                </a:ext>
              </a:extLst>
            </p:cNvPr>
            <p:cNvSpPr>
              <a:spLocks/>
            </p:cNvSpPr>
            <p:nvPr/>
          </p:nvSpPr>
          <p:spPr bwMode="auto">
            <a:xfrm>
              <a:off x="6994525" y="4468262"/>
              <a:ext cx="144463" cy="161998"/>
            </a:xfrm>
            <a:custGeom>
              <a:avLst/>
              <a:gdLst>
                <a:gd name="T0" fmla="*/ 89 w 91"/>
                <a:gd name="T1" fmla="*/ 0 h 102"/>
                <a:gd name="T2" fmla="*/ 91 w 91"/>
                <a:gd name="T3" fmla="*/ 2 h 102"/>
                <a:gd name="T4" fmla="*/ 79 w 91"/>
                <a:gd name="T5" fmla="*/ 15 h 102"/>
                <a:gd name="T6" fmla="*/ 68 w 91"/>
                <a:gd name="T7" fmla="*/ 19 h 102"/>
                <a:gd name="T8" fmla="*/ 56 w 91"/>
                <a:gd name="T9" fmla="*/ 15 h 102"/>
                <a:gd name="T10" fmla="*/ 31 w 91"/>
                <a:gd name="T11" fmla="*/ 15 h 102"/>
                <a:gd name="T12" fmla="*/ 20 w 91"/>
                <a:gd name="T13" fmla="*/ 19 h 102"/>
                <a:gd name="T14" fmla="*/ 18 w 91"/>
                <a:gd name="T15" fmla="*/ 29 h 102"/>
                <a:gd name="T16" fmla="*/ 29 w 91"/>
                <a:gd name="T17" fmla="*/ 40 h 102"/>
                <a:gd name="T18" fmla="*/ 39 w 91"/>
                <a:gd name="T19" fmla="*/ 36 h 102"/>
                <a:gd name="T20" fmla="*/ 64 w 91"/>
                <a:gd name="T21" fmla="*/ 31 h 102"/>
                <a:gd name="T22" fmla="*/ 62 w 91"/>
                <a:gd name="T23" fmla="*/ 38 h 102"/>
                <a:gd name="T24" fmla="*/ 56 w 91"/>
                <a:gd name="T25" fmla="*/ 34 h 102"/>
                <a:gd name="T26" fmla="*/ 50 w 91"/>
                <a:gd name="T27" fmla="*/ 42 h 102"/>
                <a:gd name="T28" fmla="*/ 39 w 91"/>
                <a:gd name="T29" fmla="*/ 48 h 102"/>
                <a:gd name="T30" fmla="*/ 52 w 91"/>
                <a:gd name="T31" fmla="*/ 65 h 102"/>
                <a:gd name="T32" fmla="*/ 48 w 91"/>
                <a:gd name="T33" fmla="*/ 71 h 102"/>
                <a:gd name="T34" fmla="*/ 62 w 91"/>
                <a:gd name="T35" fmla="*/ 86 h 102"/>
                <a:gd name="T36" fmla="*/ 62 w 91"/>
                <a:gd name="T37" fmla="*/ 90 h 102"/>
                <a:gd name="T38" fmla="*/ 62 w 91"/>
                <a:gd name="T39" fmla="*/ 96 h 102"/>
                <a:gd name="T40" fmla="*/ 54 w 91"/>
                <a:gd name="T41" fmla="*/ 100 h 102"/>
                <a:gd name="T42" fmla="*/ 48 w 91"/>
                <a:gd name="T43" fmla="*/ 96 h 102"/>
                <a:gd name="T44" fmla="*/ 56 w 91"/>
                <a:gd name="T45" fmla="*/ 84 h 102"/>
                <a:gd name="T46" fmla="*/ 43 w 91"/>
                <a:gd name="T47" fmla="*/ 88 h 102"/>
                <a:gd name="T48" fmla="*/ 39 w 91"/>
                <a:gd name="T49" fmla="*/ 86 h 102"/>
                <a:gd name="T50" fmla="*/ 41 w 91"/>
                <a:gd name="T51" fmla="*/ 79 h 102"/>
                <a:gd name="T52" fmla="*/ 29 w 91"/>
                <a:gd name="T53" fmla="*/ 73 h 102"/>
                <a:gd name="T54" fmla="*/ 29 w 91"/>
                <a:gd name="T55" fmla="*/ 57 h 102"/>
                <a:gd name="T56" fmla="*/ 22 w 91"/>
                <a:gd name="T57" fmla="*/ 63 h 102"/>
                <a:gd name="T58" fmla="*/ 23 w 91"/>
                <a:gd name="T59" fmla="*/ 79 h 102"/>
                <a:gd name="T60" fmla="*/ 23 w 91"/>
                <a:gd name="T61" fmla="*/ 100 h 102"/>
                <a:gd name="T62" fmla="*/ 16 w 91"/>
                <a:gd name="T63" fmla="*/ 102 h 102"/>
                <a:gd name="T64" fmla="*/ 8 w 91"/>
                <a:gd name="T65" fmla="*/ 96 h 102"/>
                <a:gd name="T66" fmla="*/ 12 w 91"/>
                <a:gd name="T67" fmla="*/ 84 h 102"/>
                <a:gd name="T68" fmla="*/ 10 w 91"/>
                <a:gd name="T69" fmla="*/ 71 h 102"/>
                <a:gd name="T70" fmla="*/ 4 w 91"/>
                <a:gd name="T71" fmla="*/ 71 h 102"/>
                <a:gd name="T72" fmla="*/ 0 w 91"/>
                <a:gd name="T73" fmla="*/ 61 h 102"/>
                <a:gd name="T74" fmla="*/ 6 w 91"/>
                <a:gd name="T75" fmla="*/ 50 h 102"/>
                <a:gd name="T76" fmla="*/ 8 w 91"/>
                <a:gd name="T77" fmla="*/ 40 h 102"/>
                <a:gd name="T78" fmla="*/ 16 w 91"/>
                <a:gd name="T79" fmla="*/ 19 h 102"/>
                <a:gd name="T80" fmla="*/ 18 w 91"/>
                <a:gd name="T81" fmla="*/ 13 h 102"/>
                <a:gd name="T82" fmla="*/ 29 w 91"/>
                <a:gd name="T83" fmla="*/ 4 h 102"/>
                <a:gd name="T84" fmla="*/ 41 w 91"/>
                <a:gd name="T85" fmla="*/ 7 h 102"/>
                <a:gd name="T86" fmla="*/ 58 w 91"/>
                <a:gd name="T87" fmla="*/ 9 h 102"/>
                <a:gd name="T88" fmla="*/ 73 w 91"/>
                <a:gd name="T89" fmla="*/ 9 h 102"/>
                <a:gd name="T90" fmla="*/ 89 w 91"/>
                <a:gd name="T91" fmla="*/ 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91" h="102">
                  <a:moveTo>
                    <a:pt x="89" y="0"/>
                  </a:moveTo>
                  <a:lnTo>
                    <a:pt x="91" y="2"/>
                  </a:lnTo>
                  <a:lnTo>
                    <a:pt x="79" y="15"/>
                  </a:lnTo>
                  <a:lnTo>
                    <a:pt x="68" y="19"/>
                  </a:lnTo>
                  <a:lnTo>
                    <a:pt x="56" y="15"/>
                  </a:lnTo>
                  <a:lnTo>
                    <a:pt x="31" y="15"/>
                  </a:lnTo>
                  <a:lnTo>
                    <a:pt x="20" y="19"/>
                  </a:lnTo>
                  <a:lnTo>
                    <a:pt x="18" y="29"/>
                  </a:lnTo>
                  <a:lnTo>
                    <a:pt x="29" y="40"/>
                  </a:lnTo>
                  <a:lnTo>
                    <a:pt x="39" y="36"/>
                  </a:lnTo>
                  <a:lnTo>
                    <a:pt x="64" y="31"/>
                  </a:lnTo>
                  <a:lnTo>
                    <a:pt x="62" y="38"/>
                  </a:lnTo>
                  <a:lnTo>
                    <a:pt x="56" y="34"/>
                  </a:lnTo>
                  <a:lnTo>
                    <a:pt x="50" y="42"/>
                  </a:lnTo>
                  <a:lnTo>
                    <a:pt x="39" y="48"/>
                  </a:lnTo>
                  <a:lnTo>
                    <a:pt x="52" y="65"/>
                  </a:lnTo>
                  <a:lnTo>
                    <a:pt x="48" y="71"/>
                  </a:lnTo>
                  <a:lnTo>
                    <a:pt x="62" y="86"/>
                  </a:lnTo>
                  <a:lnTo>
                    <a:pt x="62" y="90"/>
                  </a:lnTo>
                  <a:lnTo>
                    <a:pt x="62" y="96"/>
                  </a:lnTo>
                  <a:lnTo>
                    <a:pt x="54" y="100"/>
                  </a:lnTo>
                  <a:lnTo>
                    <a:pt x="48" y="96"/>
                  </a:lnTo>
                  <a:lnTo>
                    <a:pt x="56" y="84"/>
                  </a:lnTo>
                  <a:lnTo>
                    <a:pt x="43" y="88"/>
                  </a:lnTo>
                  <a:lnTo>
                    <a:pt x="39" y="86"/>
                  </a:lnTo>
                  <a:lnTo>
                    <a:pt x="41" y="79"/>
                  </a:lnTo>
                  <a:lnTo>
                    <a:pt x="29" y="73"/>
                  </a:lnTo>
                  <a:lnTo>
                    <a:pt x="29" y="57"/>
                  </a:lnTo>
                  <a:lnTo>
                    <a:pt x="22" y="63"/>
                  </a:lnTo>
                  <a:lnTo>
                    <a:pt x="23" y="79"/>
                  </a:lnTo>
                  <a:lnTo>
                    <a:pt x="23" y="100"/>
                  </a:lnTo>
                  <a:lnTo>
                    <a:pt x="16" y="102"/>
                  </a:lnTo>
                  <a:lnTo>
                    <a:pt x="8" y="96"/>
                  </a:lnTo>
                  <a:lnTo>
                    <a:pt x="12" y="84"/>
                  </a:lnTo>
                  <a:lnTo>
                    <a:pt x="10" y="71"/>
                  </a:lnTo>
                  <a:lnTo>
                    <a:pt x="4" y="71"/>
                  </a:lnTo>
                  <a:lnTo>
                    <a:pt x="0" y="61"/>
                  </a:lnTo>
                  <a:lnTo>
                    <a:pt x="6" y="50"/>
                  </a:lnTo>
                  <a:lnTo>
                    <a:pt x="8" y="40"/>
                  </a:lnTo>
                  <a:lnTo>
                    <a:pt x="16" y="19"/>
                  </a:lnTo>
                  <a:lnTo>
                    <a:pt x="18" y="13"/>
                  </a:lnTo>
                  <a:lnTo>
                    <a:pt x="29" y="4"/>
                  </a:lnTo>
                  <a:lnTo>
                    <a:pt x="41" y="7"/>
                  </a:lnTo>
                  <a:lnTo>
                    <a:pt x="58" y="9"/>
                  </a:lnTo>
                  <a:lnTo>
                    <a:pt x="73" y="9"/>
                  </a:lnTo>
                  <a:lnTo>
                    <a:pt x="89" y="0"/>
                  </a:lnTo>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84" name="Freeform 69">
              <a:extLst>
                <a:ext uri="{FF2B5EF4-FFF2-40B4-BE49-F238E27FC236}">
                  <a16:creationId xmlns:a16="http://schemas.microsoft.com/office/drawing/2014/main" id="{81F6F5FB-9576-74B6-70FA-1CE2D985E9BA}"/>
                </a:ext>
              </a:extLst>
            </p:cNvPr>
            <p:cNvSpPr>
              <a:spLocks/>
            </p:cNvSpPr>
            <p:nvPr/>
          </p:nvSpPr>
          <p:spPr bwMode="auto">
            <a:xfrm>
              <a:off x="7186612" y="4452380"/>
              <a:ext cx="28575" cy="69882"/>
            </a:xfrm>
            <a:custGeom>
              <a:avLst/>
              <a:gdLst>
                <a:gd name="T0" fmla="*/ 6 w 18"/>
                <a:gd name="T1" fmla="*/ 0 h 44"/>
                <a:gd name="T2" fmla="*/ 8 w 18"/>
                <a:gd name="T3" fmla="*/ 10 h 44"/>
                <a:gd name="T4" fmla="*/ 16 w 18"/>
                <a:gd name="T5" fmla="*/ 12 h 44"/>
                <a:gd name="T6" fmla="*/ 18 w 18"/>
                <a:gd name="T7" fmla="*/ 16 h 44"/>
                <a:gd name="T8" fmla="*/ 16 w 18"/>
                <a:gd name="T9" fmla="*/ 27 h 44"/>
                <a:gd name="T10" fmla="*/ 10 w 18"/>
                <a:gd name="T11" fmla="*/ 27 h 44"/>
                <a:gd name="T12" fmla="*/ 8 w 18"/>
                <a:gd name="T13" fmla="*/ 35 h 44"/>
                <a:gd name="T14" fmla="*/ 12 w 18"/>
                <a:gd name="T15" fmla="*/ 42 h 44"/>
                <a:gd name="T16" fmla="*/ 10 w 18"/>
                <a:gd name="T17" fmla="*/ 44 h 44"/>
                <a:gd name="T18" fmla="*/ 2 w 18"/>
                <a:gd name="T19" fmla="*/ 35 h 44"/>
                <a:gd name="T20" fmla="*/ 0 w 18"/>
                <a:gd name="T21" fmla="*/ 17 h 44"/>
                <a:gd name="T22" fmla="*/ 2 w 18"/>
                <a:gd name="T23" fmla="*/ 6 h 44"/>
                <a:gd name="T24" fmla="*/ 6 w 18"/>
                <a:gd name="T25"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 h="44">
                  <a:moveTo>
                    <a:pt x="6" y="0"/>
                  </a:moveTo>
                  <a:lnTo>
                    <a:pt x="8" y="10"/>
                  </a:lnTo>
                  <a:lnTo>
                    <a:pt x="16" y="12"/>
                  </a:lnTo>
                  <a:lnTo>
                    <a:pt x="18" y="16"/>
                  </a:lnTo>
                  <a:lnTo>
                    <a:pt x="16" y="27"/>
                  </a:lnTo>
                  <a:lnTo>
                    <a:pt x="10" y="27"/>
                  </a:lnTo>
                  <a:lnTo>
                    <a:pt x="8" y="35"/>
                  </a:lnTo>
                  <a:lnTo>
                    <a:pt x="12" y="42"/>
                  </a:lnTo>
                  <a:lnTo>
                    <a:pt x="10" y="44"/>
                  </a:lnTo>
                  <a:lnTo>
                    <a:pt x="2" y="35"/>
                  </a:lnTo>
                  <a:lnTo>
                    <a:pt x="0" y="17"/>
                  </a:lnTo>
                  <a:lnTo>
                    <a:pt x="2" y="6"/>
                  </a:lnTo>
                  <a:lnTo>
                    <a:pt x="6" y="0"/>
                  </a:lnTo>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85" name="Freeform 71">
              <a:extLst>
                <a:ext uri="{FF2B5EF4-FFF2-40B4-BE49-F238E27FC236}">
                  <a16:creationId xmlns:a16="http://schemas.microsoft.com/office/drawing/2014/main" id="{17077CC0-196D-185C-1ADB-E09A77DC3C2B}"/>
                </a:ext>
              </a:extLst>
            </p:cNvPr>
            <p:cNvSpPr>
              <a:spLocks/>
            </p:cNvSpPr>
            <p:nvPr/>
          </p:nvSpPr>
          <p:spPr bwMode="auto">
            <a:xfrm>
              <a:off x="6477001" y="4379322"/>
              <a:ext cx="238125" cy="252527"/>
            </a:xfrm>
            <a:custGeom>
              <a:avLst/>
              <a:gdLst>
                <a:gd name="T0" fmla="*/ 0 w 150"/>
                <a:gd name="T1" fmla="*/ 0 h 159"/>
                <a:gd name="T2" fmla="*/ 8 w 150"/>
                <a:gd name="T3" fmla="*/ 0 h 159"/>
                <a:gd name="T4" fmla="*/ 31 w 150"/>
                <a:gd name="T5" fmla="*/ 4 h 159"/>
                <a:gd name="T6" fmla="*/ 41 w 150"/>
                <a:gd name="T7" fmla="*/ 17 h 159"/>
                <a:gd name="T8" fmla="*/ 54 w 150"/>
                <a:gd name="T9" fmla="*/ 29 h 159"/>
                <a:gd name="T10" fmla="*/ 60 w 150"/>
                <a:gd name="T11" fmla="*/ 33 h 159"/>
                <a:gd name="T12" fmla="*/ 73 w 150"/>
                <a:gd name="T13" fmla="*/ 48 h 159"/>
                <a:gd name="T14" fmla="*/ 89 w 150"/>
                <a:gd name="T15" fmla="*/ 48 h 159"/>
                <a:gd name="T16" fmla="*/ 100 w 150"/>
                <a:gd name="T17" fmla="*/ 58 h 159"/>
                <a:gd name="T18" fmla="*/ 108 w 150"/>
                <a:gd name="T19" fmla="*/ 69 h 159"/>
                <a:gd name="T20" fmla="*/ 119 w 150"/>
                <a:gd name="T21" fmla="*/ 77 h 159"/>
                <a:gd name="T22" fmla="*/ 112 w 150"/>
                <a:gd name="T23" fmla="*/ 87 h 159"/>
                <a:gd name="T24" fmla="*/ 121 w 150"/>
                <a:gd name="T25" fmla="*/ 92 h 159"/>
                <a:gd name="T26" fmla="*/ 125 w 150"/>
                <a:gd name="T27" fmla="*/ 94 h 159"/>
                <a:gd name="T28" fmla="*/ 129 w 150"/>
                <a:gd name="T29" fmla="*/ 102 h 159"/>
                <a:gd name="T30" fmla="*/ 135 w 150"/>
                <a:gd name="T31" fmla="*/ 110 h 159"/>
                <a:gd name="T32" fmla="*/ 144 w 150"/>
                <a:gd name="T33" fmla="*/ 111 h 159"/>
                <a:gd name="T34" fmla="*/ 150 w 150"/>
                <a:gd name="T35" fmla="*/ 119 h 159"/>
                <a:gd name="T36" fmla="*/ 146 w 150"/>
                <a:gd name="T37" fmla="*/ 136 h 159"/>
                <a:gd name="T38" fmla="*/ 144 w 150"/>
                <a:gd name="T39" fmla="*/ 159 h 159"/>
                <a:gd name="T40" fmla="*/ 131 w 150"/>
                <a:gd name="T41" fmla="*/ 159 h 159"/>
                <a:gd name="T42" fmla="*/ 119 w 150"/>
                <a:gd name="T43" fmla="*/ 148 h 159"/>
                <a:gd name="T44" fmla="*/ 100 w 150"/>
                <a:gd name="T45" fmla="*/ 136 h 159"/>
                <a:gd name="T46" fmla="*/ 96 w 150"/>
                <a:gd name="T47" fmla="*/ 129 h 159"/>
                <a:gd name="T48" fmla="*/ 85 w 150"/>
                <a:gd name="T49" fmla="*/ 117 h 159"/>
                <a:gd name="T50" fmla="*/ 77 w 150"/>
                <a:gd name="T51" fmla="*/ 106 h 159"/>
                <a:gd name="T52" fmla="*/ 67 w 150"/>
                <a:gd name="T53" fmla="*/ 87 h 159"/>
                <a:gd name="T54" fmla="*/ 56 w 150"/>
                <a:gd name="T55" fmla="*/ 75 h 159"/>
                <a:gd name="T56" fmla="*/ 50 w 150"/>
                <a:gd name="T57" fmla="*/ 63 h 159"/>
                <a:gd name="T58" fmla="*/ 44 w 150"/>
                <a:gd name="T59" fmla="*/ 52 h 159"/>
                <a:gd name="T60" fmla="*/ 33 w 150"/>
                <a:gd name="T61" fmla="*/ 42 h 159"/>
                <a:gd name="T62" fmla="*/ 25 w 150"/>
                <a:gd name="T63" fmla="*/ 31 h 159"/>
                <a:gd name="T64" fmla="*/ 16 w 150"/>
                <a:gd name="T65" fmla="*/ 23 h 159"/>
                <a:gd name="T66" fmla="*/ 0 w 150"/>
                <a:gd name="T67" fmla="*/ 8 h 159"/>
                <a:gd name="T68" fmla="*/ 0 w 150"/>
                <a:gd name="T69" fmla="*/ 0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50" h="159">
                  <a:moveTo>
                    <a:pt x="0" y="0"/>
                  </a:moveTo>
                  <a:lnTo>
                    <a:pt x="8" y="0"/>
                  </a:lnTo>
                  <a:lnTo>
                    <a:pt x="31" y="4"/>
                  </a:lnTo>
                  <a:lnTo>
                    <a:pt x="41" y="17"/>
                  </a:lnTo>
                  <a:lnTo>
                    <a:pt x="54" y="29"/>
                  </a:lnTo>
                  <a:lnTo>
                    <a:pt x="60" y="33"/>
                  </a:lnTo>
                  <a:lnTo>
                    <a:pt x="73" y="48"/>
                  </a:lnTo>
                  <a:lnTo>
                    <a:pt x="89" y="48"/>
                  </a:lnTo>
                  <a:lnTo>
                    <a:pt x="100" y="58"/>
                  </a:lnTo>
                  <a:lnTo>
                    <a:pt x="108" y="69"/>
                  </a:lnTo>
                  <a:lnTo>
                    <a:pt x="119" y="77"/>
                  </a:lnTo>
                  <a:lnTo>
                    <a:pt x="112" y="87"/>
                  </a:lnTo>
                  <a:lnTo>
                    <a:pt x="121" y="92"/>
                  </a:lnTo>
                  <a:lnTo>
                    <a:pt x="125" y="94"/>
                  </a:lnTo>
                  <a:lnTo>
                    <a:pt x="129" y="102"/>
                  </a:lnTo>
                  <a:lnTo>
                    <a:pt x="135" y="110"/>
                  </a:lnTo>
                  <a:lnTo>
                    <a:pt x="144" y="111"/>
                  </a:lnTo>
                  <a:lnTo>
                    <a:pt x="150" y="119"/>
                  </a:lnTo>
                  <a:lnTo>
                    <a:pt x="146" y="136"/>
                  </a:lnTo>
                  <a:lnTo>
                    <a:pt x="144" y="159"/>
                  </a:lnTo>
                  <a:lnTo>
                    <a:pt x="131" y="159"/>
                  </a:lnTo>
                  <a:lnTo>
                    <a:pt x="119" y="148"/>
                  </a:lnTo>
                  <a:lnTo>
                    <a:pt x="100" y="136"/>
                  </a:lnTo>
                  <a:lnTo>
                    <a:pt x="96" y="129"/>
                  </a:lnTo>
                  <a:lnTo>
                    <a:pt x="85" y="117"/>
                  </a:lnTo>
                  <a:lnTo>
                    <a:pt x="77" y="106"/>
                  </a:lnTo>
                  <a:lnTo>
                    <a:pt x="67" y="87"/>
                  </a:lnTo>
                  <a:lnTo>
                    <a:pt x="56" y="75"/>
                  </a:lnTo>
                  <a:lnTo>
                    <a:pt x="50" y="63"/>
                  </a:lnTo>
                  <a:lnTo>
                    <a:pt x="44" y="52"/>
                  </a:lnTo>
                  <a:lnTo>
                    <a:pt x="33" y="42"/>
                  </a:lnTo>
                  <a:lnTo>
                    <a:pt x="25" y="31"/>
                  </a:lnTo>
                  <a:lnTo>
                    <a:pt x="16" y="23"/>
                  </a:lnTo>
                  <a:lnTo>
                    <a:pt x="0" y="8"/>
                  </a:lnTo>
                  <a:lnTo>
                    <a:pt x="0" y="0"/>
                  </a:lnTo>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86" name="Freeform 73">
              <a:extLst>
                <a:ext uri="{FF2B5EF4-FFF2-40B4-BE49-F238E27FC236}">
                  <a16:creationId xmlns:a16="http://schemas.microsoft.com/office/drawing/2014/main" id="{40611239-D270-8FB8-A72E-914C2AB45B5F}"/>
                </a:ext>
              </a:extLst>
            </p:cNvPr>
            <p:cNvSpPr>
              <a:spLocks/>
            </p:cNvSpPr>
            <p:nvPr/>
          </p:nvSpPr>
          <p:spPr bwMode="auto">
            <a:xfrm>
              <a:off x="6775450" y="4349145"/>
              <a:ext cx="228600" cy="244586"/>
            </a:xfrm>
            <a:custGeom>
              <a:avLst/>
              <a:gdLst>
                <a:gd name="T0" fmla="*/ 115 w 144"/>
                <a:gd name="T1" fmla="*/ 0 h 154"/>
                <a:gd name="T2" fmla="*/ 123 w 144"/>
                <a:gd name="T3" fmla="*/ 8 h 154"/>
                <a:gd name="T4" fmla="*/ 123 w 144"/>
                <a:gd name="T5" fmla="*/ 13 h 154"/>
                <a:gd name="T6" fmla="*/ 133 w 144"/>
                <a:gd name="T7" fmla="*/ 17 h 154"/>
                <a:gd name="T8" fmla="*/ 144 w 144"/>
                <a:gd name="T9" fmla="*/ 19 h 154"/>
                <a:gd name="T10" fmla="*/ 142 w 144"/>
                <a:gd name="T11" fmla="*/ 27 h 154"/>
                <a:gd name="T12" fmla="*/ 133 w 144"/>
                <a:gd name="T13" fmla="*/ 27 h 154"/>
                <a:gd name="T14" fmla="*/ 137 w 144"/>
                <a:gd name="T15" fmla="*/ 35 h 154"/>
                <a:gd name="T16" fmla="*/ 127 w 144"/>
                <a:gd name="T17" fmla="*/ 38 h 154"/>
                <a:gd name="T18" fmla="*/ 117 w 144"/>
                <a:gd name="T19" fmla="*/ 52 h 154"/>
                <a:gd name="T20" fmla="*/ 127 w 144"/>
                <a:gd name="T21" fmla="*/ 63 h 154"/>
                <a:gd name="T22" fmla="*/ 127 w 144"/>
                <a:gd name="T23" fmla="*/ 71 h 154"/>
                <a:gd name="T24" fmla="*/ 140 w 144"/>
                <a:gd name="T25" fmla="*/ 84 h 154"/>
                <a:gd name="T26" fmla="*/ 125 w 144"/>
                <a:gd name="T27" fmla="*/ 84 h 154"/>
                <a:gd name="T28" fmla="*/ 119 w 144"/>
                <a:gd name="T29" fmla="*/ 96 h 154"/>
                <a:gd name="T30" fmla="*/ 121 w 144"/>
                <a:gd name="T31" fmla="*/ 107 h 154"/>
                <a:gd name="T32" fmla="*/ 108 w 144"/>
                <a:gd name="T33" fmla="*/ 117 h 154"/>
                <a:gd name="T34" fmla="*/ 106 w 144"/>
                <a:gd name="T35" fmla="*/ 130 h 154"/>
                <a:gd name="T36" fmla="*/ 100 w 144"/>
                <a:gd name="T37" fmla="*/ 152 h 154"/>
                <a:gd name="T38" fmla="*/ 98 w 144"/>
                <a:gd name="T39" fmla="*/ 148 h 154"/>
                <a:gd name="T40" fmla="*/ 85 w 144"/>
                <a:gd name="T41" fmla="*/ 154 h 154"/>
                <a:gd name="T42" fmla="*/ 77 w 144"/>
                <a:gd name="T43" fmla="*/ 146 h 154"/>
                <a:gd name="T44" fmla="*/ 67 w 144"/>
                <a:gd name="T45" fmla="*/ 144 h 154"/>
                <a:gd name="T46" fmla="*/ 62 w 144"/>
                <a:gd name="T47" fmla="*/ 140 h 154"/>
                <a:gd name="T48" fmla="*/ 44 w 144"/>
                <a:gd name="T49" fmla="*/ 146 h 154"/>
                <a:gd name="T50" fmla="*/ 39 w 144"/>
                <a:gd name="T51" fmla="*/ 138 h 154"/>
                <a:gd name="T52" fmla="*/ 31 w 144"/>
                <a:gd name="T53" fmla="*/ 138 h 154"/>
                <a:gd name="T54" fmla="*/ 19 w 144"/>
                <a:gd name="T55" fmla="*/ 138 h 154"/>
                <a:gd name="T56" fmla="*/ 18 w 144"/>
                <a:gd name="T57" fmla="*/ 119 h 154"/>
                <a:gd name="T58" fmla="*/ 12 w 144"/>
                <a:gd name="T59" fmla="*/ 113 h 154"/>
                <a:gd name="T60" fmla="*/ 4 w 144"/>
                <a:gd name="T61" fmla="*/ 102 h 154"/>
                <a:gd name="T62" fmla="*/ 0 w 144"/>
                <a:gd name="T63" fmla="*/ 90 h 154"/>
                <a:gd name="T64" fmla="*/ 2 w 144"/>
                <a:gd name="T65" fmla="*/ 77 h 154"/>
                <a:gd name="T66" fmla="*/ 12 w 144"/>
                <a:gd name="T67" fmla="*/ 69 h 154"/>
                <a:gd name="T68" fmla="*/ 21 w 144"/>
                <a:gd name="T69" fmla="*/ 75 h 154"/>
                <a:gd name="T70" fmla="*/ 33 w 144"/>
                <a:gd name="T71" fmla="*/ 71 h 154"/>
                <a:gd name="T72" fmla="*/ 35 w 144"/>
                <a:gd name="T73" fmla="*/ 58 h 154"/>
                <a:gd name="T74" fmla="*/ 41 w 144"/>
                <a:gd name="T75" fmla="*/ 58 h 154"/>
                <a:gd name="T76" fmla="*/ 58 w 144"/>
                <a:gd name="T77" fmla="*/ 54 h 154"/>
                <a:gd name="T78" fmla="*/ 67 w 144"/>
                <a:gd name="T79" fmla="*/ 42 h 154"/>
                <a:gd name="T80" fmla="*/ 75 w 144"/>
                <a:gd name="T81" fmla="*/ 35 h 154"/>
                <a:gd name="T82" fmla="*/ 79 w 144"/>
                <a:gd name="T83" fmla="*/ 29 h 154"/>
                <a:gd name="T84" fmla="*/ 90 w 144"/>
                <a:gd name="T85" fmla="*/ 19 h 154"/>
                <a:gd name="T86" fmla="*/ 102 w 144"/>
                <a:gd name="T87" fmla="*/ 10 h 154"/>
                <a:gd name="T88" fmla="*/ 110 w 144"/>
                <a:gd name="T89" fmla="*/ 0 h 154"/>
                <a:gd name="T90" fmla="*/ 115 w 144"/>
                <a:gd name="T91" fmla="*/ 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44" h="154">
                  <a:moveTo>
                    <a:pt x="115" y="0"/>
                  </a:moveTo>
                  <a:lnTo>
                    <a:pt x="123" y="8"/>
                  </a:lnTo>
                  <a:lnTo>
                    <a:pt x="123" y="13"/>
                  </a:lnTo>
                  <a:lnTo>
                    <a:pt x="133" y="17"/>
                  </a:lnTo>
                  <a:lnTo>
                    <a:pt x="144" y="19"/>
                  </a:lnTo>
                  <a:lnTo>
                    <a:pt x="142" y="27"/>
                  </a:lnTo>
                  <a:lnTo>
                    <a:pt x="133" y="27"/>
                  </a:lnTo>
                  <a:lnTo>
                    <a:pt x="137" y="35"/>
                  </a:lnTo>
                  <a:lnTo>
                    <a:pt x="127" y="38"/>
                  </a:lnTo>
                  <a:lnTo>
                    <a:pt x="117" y="52"/>
                  </a:lnTo>
                  <a:lnTo>
                    <a:pt x="127" y="63"/>
                  </a:lnTo>
                  <a:lnTo>
                    <a:pt x="127" y="71"/>
                  </a:lnTo>
                  <a:lnTo>
                    <a:pt x="140" y="84"/>
                  </a:lnTo>
                  <a:lnTo>
                    <a:pt x="125" y="84"/>
                  </a:lnTo>
                  <a:lnTo>
                    <a:pt x="119" y="96"/>
                  </a:lnTo>
                  <a:lnTo>
                    <a:pt x="121" y="107"/>
                  </a:lnTo>
                  <a:lnTo>
                    <a:pt x="108" y="117"/>
                  </a:lnTo>
                  <a:lnTo>
                    <a:pt x="106" y="130"/>
                  </a:lnTo>
                  <a:lnTo>
                    <a:pt x="100" y="152"/>
                  </a:lnTo>
                  <a:lnTo>
                    <a:pt x="98" y="148"/>
                  </a:lnTo>
                  <a:lnTo>
                    <a:pt x="85" y="154"/>
                  </a:lnTo>
                  <a:lnTo>
                    <a:pt x="77" y="146"/>
                  </a:lnTo>
                  <a:lnTo>
                    <a:pt x="67" y="144"/>
                  </a:lnTo>
                  <a:lnTo>
                    <a:pt x="62" y="140"/>
                  </a:lnTo>
                  <a:lnTo>
                    <a:pt x="44" y="146"/>
                  </a:lnTo>
                  <a:lnTo>
                    <a:pt x="39" y="138"/>
                  </a:lnTo>
                  <a:lnTo>
                    <a:pt x="31" y="138"/>
                  </a:lnTo>
                  <a:lnTo>
                    <a:pt x="19" y="138"/>
                  </a:lnTo>
                  <a:lnTo>
                    <a:pt x="18" y="119"/>
                  </a:lnTo>
                  <a:lnTo>
                    <a:pt x="12" y="113"/>
                  </a:lnTo>
                  <a:lnTo>
                    <a:pt x="4" y="102"/>
                  </a:lnTo>
                  <a:lnTo>
                    <a:pt x="0" y="90"/>
                  </a:lnTo>
                  <a:lnTo>
                    <a:pt x="2" y="77"/>
                  </a:lnTo>
                  <a:lnTo>
                    <a:pt x="12" y="69"/>
                  </a:lnTo>
                  <a:lnTo>
                    <a:pt x="21" y="75"/>
                  </a:lnTo>
                  <a:lnTo>
                    <a:pt x="33" y="71"/>
                  </a:lnTo>
                  <a:lnTo>
                    <a:pt x="35" y="58"/>
                  </a:lnTo>
                  <a:lnTo>
                    <a:pt x="41" y="58"/>
                  </a:lnTo>
                  <a:lnTo>
                    <a:pt x="58" y="54"/>
                  </a:lnTo>
                  <a:lnTo>
                    <a:pt x="67" y="42"/>
                  </a:lnTo>
                  <a:lnTo>
                    <a:pt x="75" y="35"/>
                  </a:lnTo>
                  <a:lnTo>
                    <a:pt x="79" y="29"/>
                  </a:lnTo>
                  <a:lnTo>
                    <a:pt x="90" y="19"/>
                  </a:lnTo>
                  <a:lnTo>
                    <a:pt x="102" y="10"/>
                  </a:lnTo>
                  <a:lnTo>
                    <a:pt x="110" y="0"/>
                  </a:lnTo>
                  <a:lnTo>
                    <a:pt x="115" y="0"/>
                  </a:lnTo>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87" name="Freeform 75">
              <a:extLst>
                <a:ext uri="{FF2B5EF4-FFF2-40B4-BE49-F238E27FC236}">
                  <a16:creationId xmlns:a16="http://schemas.microsoft.com/office/drawing/2014/main" id="{41690C6E-FF23-A2F4-D1D2-1ADDEF29B5AD}"/>
                </a:ext>
              </a:extLst>
            </p:cNvPr>
            <p:cNvSpPr>
              <a:spLocks/>
            </p:cNvSpPr>
            <p:nvPr/>
          </p:nvSpPr>
          <p:spPr bwMode="auto">
            <a:xfrm>
              <a:off x="7062787" y="4285616"/>
              <a:ext cx="103188" cy="93705"/>
            </a:xfrm>
            <a:custGeom>
              <a:avLst/>
              <a:gdLst>
                <a:gd name="T0" fmla="*/ 50 w 65"/>
                <a:gd name="T1" fmla="*/ 0 h 59"/>
                <a:gd name="T2" fmla="*/ 61 w 65"/>
                <a:gd name="T3" fmla="*/ 7 h 59"/>
                <a:gd name="T4" fmla="*/ 61 w 65"/>
                <a:gd name="T5" fmla="*/ 13 h 59"/>
                <a:gd name="T6" fmla="*/ 61 w 65"/>
                <a:gd name="T7" fmla="*/ 19 h 59"/>
                <a:gd name="T8" fmla="*/ 63 w 65"/>
                <a:gd name="T9" fmla="*/ 28 h 59"/>
                <a:gd name="T10" fmla="*/ 65 w 65"/>
                <a:gd name="T11" fmla="*/ 36 h 59"/>
                <a:gd name="T12" fmla="*/ 61 w 65"/>
                <a:gd name="T13" fmla="*/ 50 h 59"/>
                <a:gd name="T14" fmla="*/ 55 w 65"/>
                <a:gd name="T15" fmla="*/ 34 h 59"/>
                <a:gd name="T16" fmla="*/ 50 w 65"/>
                <a:gd name="T17" fmla="*/ 42 h 59"/>
                <a:gd name="T18" fmla="*/ 53 w 65"/>
                <a:gd name="T19" fmla="*/ 51 h 59"/>
                <a:gd name="T20" fmla="*/ 50 w 65"/>
                <a:gd name="T21" fmla="*/ 59 h 59"/>
                <a:gd name="T22" fmla="*/ 32 w 65"/>
                <a:gd name="T23" fmla="*/ 50 h 59"/>
                <a:gd name="T24" fmla="*/ 28 w 65"/>
                <a:gd name="T25" fmla="*/ 40 h 59"/>
                <a:gd name="T26" fmla="*/ 34 w 65"/>
                <a:gd name="T27" fmla="*/ 34 h 59"/>
                <a:gd name="T28" fmla="*/ 23 w 65"/>
                <a:gd name="T29" fmla="*/ 27 h 59"/>
                <a:gd name="T30" fmla="*/ 21 w 65"/>
                <a:gd name="T31" fmla="*/ 34 h 59"/>
                <a:gd name="T32" fmla="*/ 13 w 65"/>
                <a:gd name="T33" fmla="*/ 32 h 59"/>
                <a:gd name="T34" fmla="*/ 3 w 65"/>
                <a:gd name="T35" fmla="*/ 40 h 59"/>
                <a:gd name="T36" fmla="*/ 0 w 65"/>
                <a:gd name="T37" fmla="*/ 36 h 59"/>
                <a:gd name="T38" fmla="*/ 7 w 65"/>
                <a:gd name="T39" fmla="*/ 25 h 59"/>
                <a:gd name="T40" fmla="*/ 15 w 65"/>
                <a:gd name="T41" fmla="*/ 21 h 59"/>
                <a:gd name="T42" fmla="*/ 23 w 65"/>
                <a:gd name="T43" fmla="*/ 15 h 59"/>
                <a:gd name="T44" fmla="*/ 27 w 65"/>
                <a:gd name="T45" fmla="*/ 21 h 59"/>
                <a:gd name="T46" fmla="*/ 40 w 65"/>
                <a:gd name="T47" fmla="*/ 17 h 59"/>
                <a:gd name="T48" fmla="*/ 40 w 65"/>
                <a:gd name="T49" fmla="*/ 11 h 59"/>
                <a:gd name="T50" fmla="*/ 51 w 65"/>
                <a:gd name="T51" fmla="*/ 11 h 59"/>
                <a:gd name="T52" fmla="*/ 50 w 65"/>
                <a:gd name="T53" fmla="*/ 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5" h="59">
                  <a:moveTo>
                    <a:pt x="50" y="0"/>
                  </a:moveTo>
                  <a:lnTo>
                    <a:pt x="61" y="7"/>
                  </a:lnTo>
                  <a:lnTo>
                    <a:pt x="61" y="13"/>
                  </a:lnTo>
                  <a:lnTo>
                    <a:pt x="61" y="19"/>
                  </a:lnTo>
                  <a:lnTo>
                    <a:pt x="63" y="28"/>
                  </a:lnTo>
                  <a:lnTo>
                    <a:pt x="65" y="36"/>
                  </a:lnTo>
                  <a:lnTo>
                    <a:pt x="61" y="50"/>
                  </a:lnTo>
                  <a:lnTo>
                    <a:pt x="55" y="34"/>
                  </a:lnTo>
                  <a:lnTo>
                    <a:pt x="50" y="42"/>
                  </a:lnTo>
                  <a:lnTo>
                    <a:pt x="53" y="51"/>
                  </a:lnTo>
                  <a:lnTo>
                    <a:pt x="50" y="59"/>
                  </a:lnTo>
                  <a:lnTo>
                    <a:pt x="32" y="50"/>
                  </a:lnTo>
                  <a:lnTo>
                    <a:pt x="28" y="40"/>
                  </a:lnTo>
                  <a:lnTo>
                    <a:pt x="34" y="34"/>
                  </a:lnTo>
                  <a:lnTo>
                    <a:pt x="23" y="27"/>
                  </a:lnTo>
                  <a:lnTo>
                    <a:pt x="21" y="34"/>
                  </a:lnTo>
                  <a:lnTo>
                    <a:pt x="13" y="32"/>
                  </a:lnTo>
                  <a:lnTo>
                    <a:pt x="3" y="40"/>
                  </a:lnTo>
                  <a:lnTo>
                    <a:pt x="0" y="36"/>
                  </a:lnTo>
                  <a:lnTo>
                    <a:pt x="7" y="25"/>
                  </a:lnTo>
                  <a:lnTo>
                    <a:pt x="15" y="21"/>
                  </a:lnTo>
                  <a:lnTo>
                    <a:pt x="23" y="15"/>
                  </a:lnTo>
                  <a:lnTo>
                    <a:pt x="27" y="21"/>
                  </a:lnTo>
                  <a:lnTo>
                    <a:pt x="40" y="17"/>
                  </a:lnTo>
                  <a:lnTo>
                    <a:pt x="40" y="11"/>
                  </a:lnTo>
                  <a:lnTo>
                    <a:pt x="51" y="11"/>
                  </a:lnTo>
                  <a:lnTo>
                    <a:pt x="50" y="0"/>
                  </a:lnTo>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88" name="Freeform 77">
              <a:extLst>
                <a:ext uri="{FF2B5EF4-FFF2-40B4-BE49-F238E27FC236}">
                  <a16:creationId xmlns:a16="http://schemas.microsoft.com/office/drawing/2014/main" id="{666477D8-4072-0C8A-8259-0213DB87BD0B}"/>
                </a:ext>
              </a:extLst>
            </p:cNvPr>
            <p:cNvSpPr>
              <a:spLocks/>
            </p:cNvSpPr>
            <p:nvPr/>
          </p:nvSpPr>
          <p:spPr bwMode="auto">
            <a:xfrm>
              <a:off x="6132513" y="4285616"/>
              <a:ext cx="46038" cy="84176"/>
            </a:xfrm>
            <a:custGeom>
              <a:avLst/>
              <a:gdLst>
                <a:gd name="T0" fmla="*/ 6 w 29"/>
                <a:gd name="T1" fmla="*/ 0 h 53"/>
                <a:gd name="T2" fmla="*/ 14 w 29"/>
                <a:gd name="T3" fmla="*/ 7 h 53"/>
                <a:gd name="T4" fmla="*/ 22 w 29"/>
                <a:gd name="T5" fmla="*/ 17 h 53"/>
                <a:gd name="T6" fmla="*/ 29 w 29"/>
                <a:gd name="T7" fmla="*/ 32 h 53"/>
                <a:gd name="T8" fmla="*/ 27 w 29"/>
                <a:gd name="T9" fmla="*/ 48 h 53"/>
                <a:gd name="T10" fmla="*/ 22 w 29"/>
                <a:gd name="T11" fmla="*/ 50 h 53"/>
                <a:gd name="T12" fmla="*/ 8 w 29"/>
                <a:gd name="T13" fmla="*/ 53 h 53"/>
                <a:gd name="T14" fmla="*/ 0 w 29"/>
                <a:gd name="T15" fmla="*/ 42 h 53"/>
                <a:gd name="T16" fmla="*/ 0 w 29"/>
                <a:gd name="T17" fmla="*/ 21 h 53"/>
                <a:gd name="T18" fmla="*/ 6 w 29"/>
                <a:gd name="T19" fmla="*/ 0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9" h="53">
                  <a:moveTo>
                    <a:pt x="6" y="0"/>
                  </a:moveTo>
                  <a:lnTo>
                    <a:pt x="14" y="7"/>
                  </a:lnTo>
                  <a:lnTo>
                    <a:pt x="22" y="17"/>
                  </a:lnTo>
                  <a:lnTo>
                    <a:pt x="29" y="32"/>
                  </a:lnTo>
                  <a:lnTo>
                    <a:pt x="27" y="48"/>
                  </a:lnTo>
                  <a:lnTo>
                    <a:pt x="22" y="50"/>
                  </a:lnTo>
                  <a:lnTo>
                    <a:pt x="8" y="53"/>
                  </a:lnTo>
                  <a:lnTo>
                    <a:pt x="0" y="42"/>
                  </a:lnTo>
                  <a:lnTo>
                    <a:pt x="0" y="21"/>
                  </a:lnTo>
                  <a:lnTo>
                    <a:pt x="6" y="0"/>
                  </a:lnTo>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89" name="Freeform 79">
              <a:extLst>
                <a:ext uri="{FF2B5EF4-FFF2-40B4-BE49-F238E27FC236}">
                  <a16:creationId xmlns:a16="http://schemas.microsoft.com/office/drawing/2014/main" id="{063E7520-5FC0-B0D4-0BE8-C10FD95FFDB4}"/>
                </a:ext>
              </a:extLst>
            </p:cNvPr>
            <p:cNvSpPr>
              <a:spLocks/>
            </p:cNvSpPr>
            <p:nvPr/>
          </p:nvSpPr>
          <p:spPr bwMode="auto">
            <a:xfrm>
              <a:off x="2998788" y="4260205"/>
              <a:ext cx="23813" cy="19059"/>
            </a:xfrm>
            <a:custGeom>
              <a:avLst/>
              <a:gdLst>
                <a:gd name="T0" fmla="*/ 11 w 15"/>
                <a:gd name="T1" fmla="*/ 0 h 12"/>
                <a:gd name="T2" fmla="*/ 15 w 15"/>
                <a:gd name="T3" fmla="*/ 0 h 12"/>
                <a:gd name="T4" fmla="*/ 15 w 15"/>
                <a:gd name="T5" fmla="*/ 10 h 12"/>
                <a:gd name="T6" fmla="*/ 2 w 15"/>
                <a:gd name="T7" fmla="*/ 12 h 12"/>
                <a:gd name="T8" fmla="*/ 0 w 15"/>
                <a:gd name="T9" fmla="*/ 10 h 12"/>
                <a:gd name="T10" fmla="*/ 4 w 15"/>
                <a:gd name="T11" fmla="*/ 8 h 12"/>
                <a:gd name="T12" fmla="*/ 2 w 15"/>
                <a:gd name="T13" fmla="*/ 2 h 12"/>
                <a:gd name="T14" fmla="*/ 11 w 15"/>
                <a:gd name="T15" fmla="*/ 0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 h="12">
                  <a:moveTo>
                    <a:pt x="11" y="0"/>
                  </a:moveTo>
                  <a:lnTo>
                    <a:pt x="15" y="0"/>
                  </a:lnTo>
                  <a:lnTo>
                    <a:pt x="15" y="10"/>
                  </a:lnTo>
                  <a:lnTo>
                    <a:pt x="2" y="12"/>
                  </a:lnTo>
                  <a:lnTo>
                    <a:pt x="0" y="10"/>
                  </a:lnTo>
                  <a:lnTo>
                    <a:pt x="4" y="8"/>
                  </a:lnTo>
                  <a:lnTo>
                    <a:pt x="2" y="2"/>
                  </a:lnTo>
                  <a:lnTo>
                    <a:pt x="11" y="0"/>
                  </a:lnTo>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90" name="Freeform 81">
              <a:extLst>
                <a:ext uri="{FF2B5EF4-FFF2-40B4-BE49-F238E27FC236}">
                  <a16:creationId xmlns:a16="http://schemas.microsoft.com/office/drawing/2014/main" id="{1C3EEF76-F92B-1F61-641E-7C03E95F45BE}"/>
                </a:ext>
              </a:extLst>
            </p:cNvPr>
            <p:cNvSpPr>
              <a:spLocks/>
            </p:cNvSpPr>
            <p:nvPr/>
          </p:nvSpPr>
          <p:spPr bwMode="auto">
            <a:xfrm>
              <a:off x="7073900" y="4253852"/>
              <a:ext cx="36513" cy="49235"/>
            </a:xfrm>
            <a:custGeom>
              <a:avLst/>
              <a:gdLst>
                <a:gd name="T0" fmla="*/ 23 w 23"/>
                <a:gd name="T1" fmla="*/ 0 h 31"/>
                <a:gd name="T2" fmla="*/ 23 w 23"/>
                <a:gd name="T3" fmla="*/ 14 h 31"/>
                <a:gd name="T4" fmla="*/ 18 w 23"/>
                <a:gd name="T5" fmla="*/ 16 h 31"/>
                <a:gd name="T6" fmla="*/ 14 w 23"/>
                <a:gd name="T7" fmla="*/ 27 h 31"/>
                <a:gd name="T8" fmla="*/ 8 w 23"/>
                <a:gd name="T9" fmla="*/ 31 h 31"/>
                <a:gd name="T10" fmla="*/ 0 w 23"/>
                <a:gd name="T11" fmla="*/ 20 h 31"/>
                <a:gd name="T12" fmla="*/ 4 w 23"/>
                <a:gd name="T13" fmla="*/ 16 h 31"/>
                <a:gd name="T14" fmla="*/ 6 w 23"/>
                <a:gd name="T15" fmla="*/ 14 h 31"/>
                <a:gd name="T16" fmla="*/ 8 w 23"/>
                <a:gd name="T17" fmla="*/ 4 h 31"/>
                <a:gd name="T18" fmla="*/ 16 w 23"/>
                <a:gd name="T19" fmla="*/ 4 h 31"/>
                <a:gd name="T20" fmla="*/ 14 w 23"/>
                <a:gd name="T21" fmla="*/ 14 h 31"/>
                <a:gd name="T22" fmla="*/ 23 w 23"/>
                <a:gd name="T23"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3" h="31">
                  <a:moveTo>
                    <a:pt x="23" y="0"/>
                  </a:moveTo>
                  <a:lnTo>
                    <a:pt x="23" y="14"/>
                  </a:lnTo>
                  <a:lnTo>
                    <a:pt x="18" y="16"/>
                  </a:lnTo>
                  <a:lnTo>
                    <a:pt x="14" y="27"/>
                  </a:lnTo>
                  <a:lnTo>
                    <a:pt x="8" y="31"/>
                  </a:lnTo>
                  <a:lnTo>
                    <a:pt x="0" y="20"/>
                  </a:lnTo>
                  <a:lnTo>
                    <a:pt x="4" y="16"/>
                  </a:lnTo>
                  <a:lnTo>
                    <a:pt x="6" y="14"/>
                  </a:lnTo>
                  <a:lnTo>
                    <a:pt x="8" y="4"/>
                  </a:lnTo>
                  <a:lnTo>
                    <a:pt x="16" y="4"/>
                  </a:lnTo>
                  <a:lnTo>
                    <a:pt x="14" y="14"/>
                  </a:lnTo>
                  <a:lnTo>
                    <a:pt x="23" y="0"/>
                  </a:lnTo>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91" name="Freeform 83">
              <a:extLst>
                <a:ext uri="{FF2B5EF4-FFF2-40B4-BE49-F238E27FC236}">
                  <a16:creationId xmlns:a16="http://schemas.microsoft.com/office/drawing/2014/main" id="{DEF5C459-B663-C07F-CE86-1B645D1456C5}"/>
                </a:ext>
              </a:extLst>
            </p:cNvPr>
            <p:cNvSpPr>
              <a:spLocks/>
            </p:cNvSpPr>
            <p:nvPr/>
          </p:nvSpPr>
          <p:spPr bwMode="auto">
            <a:xfrm>
              <a:off x="6961187" y="4249088"/>
              <a:ext cx="55563" cy="69882"/>
            </a:xfrm>
            <a:custGeom>
              <a:avLst/>
              <a:gdLst>
                <a:gd name="T0" fmla="*/ 31 w 35"/>
                <a:gd name="T1" fmla="*/ 0 h 44"/>
                <a:gd name="T2" fmla="*/ 35 w 35"/>
                <a:gd name="T3" fmla="*/ 11 h 44"/>
                <a:gd name="T4" fmla="*/ 23 w 35"/>
                <a:gd name="T5" fmla="*/ 19 h 44"/>
                <a:gd name="T6" fmla="*/ 18 w 35"/>
                <a:gd name="T7" fmla="*/ 30 h 44"/>
                <a:gd name="T8" fmla="*/ 0 w 35"/>
                <a:gd name="T9" fmla="*/ 44 h 44"/>
                <a:gd name="T10" fmla="*/ 6 w 35"/>
                <a:gd name="T11" fmla="*/ 34 h 44"/>
                <a:gd name="T12" fmla="*/ 16 w 35"/>
                <a:gd name="T13" fmla="*/ 25 h 44"/>
                <a:gd name="T14" fmla="*/ 23 w 35"/>
                <a:gd name="T15" fmla="*/ 15 h 44"/>
                <a:gd name="T16" fmla="*/ 31 w 35"/>
                <a:gd name="T17"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 h="44">
                  <a:moveTo>
                    <a:pt x="31" y="0"/>
                  </a:moveTo>
                  <a:lnTo>
                    <a:pt x="35" y="11"/>
                  </a:lnTo>
                  <a:lnTo>
                    <a:pt x="23" y="19"/>
                  </a:lnTo>
                  <a:lnTo>
                    <a:pt x="18" y="30"/>
                  </a:lnTo>
                  <a:lnTo>
                    <a:pt x="0" y="44"/>
                  </a:lnTo>
                  <a:lnTo>
                    <a:pt x="6" y="34"/>
                  </a:lnTo>
                  <a:lnTo>
                    <a:pt x="16" y="25"/>
                  </a:lnTo>
                  <a:lnTo>
                    <a:pt x="23" y="15"/>
                  </a:lnTo>
                  <a:lnTo>
                    <a:pt x="31" y="0"/>
                  </a:lnTo>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92" name="Freeform 85">
              <a:extLst>
                <a:ext uri="{FF2B5EF4-FFF2-40B4-BE49-F238E27FC236}">
                  <a16:creationId xmlns:a16="http://schemas.microsoft.com/office/drawing/2014/main" id="{A25A15C3-7054-08C2-0DF3-98B5B5DC4067}"/>
                </a:ext>
              </a:extLst>
            </p:cNvPr>
            <p:cNvSpPr>
              <a:spLocks/>
            </p:cNvSpPr>
            <p:nvPr/>
          </p:nvSpPr>
          <p:spPr bwMode="auto">
            <a:xfrm>
              <a:off x="7062787" y="4239558"/>
              <a:ext cx="26988" cy="30177"/>
            </a:xfrm>
            <a:custGeom>
              <a:avLst/>
              <a:gdLst>
                <a:gd name="T0" fmla="*/ 0 w 17"/>
                <a:gd name="T1" fmla="*/ 0 h 19"/>
                <a:gd name="T2" fmla="*/ 9 w 17"/>
                <a:gd name="T3" fmla="*/ 4 h 19"/>
                <a:gd name="T4" fmla="*/ 17 w 17"/>
                <a:gd name="T5" fmla="*/ 4 h 19"/>
                <a:gd name="T6" fmla="*/ 17 w 17"/>
                <a:gd name="T7" fmla="*/ 9 h 19"/>
                <a:gd name="T8" fmla="*/ 11 w 17"/>
                <a:gd name="T9" fmla="*/ 15 h 19"/>
                <a:gd name="T10" fmla="*/ 2 w 17"/>
                <a:gd name="T11" fmla="*/ 19 h 19"/>
                <a:gd name="T12" fmla="*/ 2 w 17"/>
                <a:gd name="T13" fmla="*/ 13 h 19"/>
                <a:gd name="T14" fmla="*/ 2 w 17"/>
                <a:gd name="T15" fmla="*/ 6 h 19"/>
                <a:gd name="T16" fmla="*/ 0 w 17"/>
                <a:gd name="T17"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19">
                  <a:moveTo>
                    <a:pt x="0" y="0"/>
                  </a:moveTo>
                  <a:lnTo>
                    <a:pt x="9" y="4"/>
                  </a:lnTo>
                  <a:lnTo>
                    <a:pt x="17" y="4"/>
                  </a:lnTo>
                  <a:lnTo>
                    <a:pt x="17" y="9"/>
                  </a:lnTo>
                  <a:lnTo>
                    <a:pt x="11" y="15"/>
                  </a:lnTo>
                  <a:lnTo>
                    <a:pt x="2" y="19"/>
                  </a:lnTo>
                  <a:lnTo>
                    <a:pt x="2" y="13"/>
                  </a:lnTo>
                  <a:lnTo>
                    <a:pt x="2" y="6"/>
                  </a:lnTo>
                  <a:lnTo>
                    <a:pt x="0" y="0"/>
                  </a:lnTo>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93" name="Freeform 87">
              <a:extLst>
                <a:ext uri="{FF2B5EF4-FFF2-40B4-BE49-F238E27FC236}">
                  <a16:creationId xmlns:a16="http://schemas.microsoft.com/office/drawing/2014/main" id="{2F487B45-2CB2-AD6B-03C1-E9BD85A04415}"/>
                </a:ext>
              </a:extLst>
            </p:cNvPr>
            <p:cNvSpPr>
              <a:spLocks/>
            </p:cNvSpPr>
            <p:nvPr/>
          </p:nvSpPr>
          <p:spPr bwMode="auto">
            <a:xfrm>
              <a:off x="7116762" y="4220500"/>
              <a:ext cx="30163" cy="55588"/>
            </a:xfrm>
            <a:custGeom>
              <a:avLst/>
              <a:gdLst>
                <a:gd name="T0" fmla="*/ 0 w 19"/>
                <a:gd name="T1" fmla="*/ 0 h 35"/>
                <a:gd name="T2" fmla="*/ 14 w 19"/>
                <a:gd name="T3" fmla="*/ 2 h 35"/>
                <a:gd name="T4" fmla="*/ 17 w 19"/>
                <a:gd name="T5" fmla="*/ 8 h 35"/>
                <a:gd name="T6" fmla="*/ 19 w 19"/>
                <a:gd name="T7" fmla="*/ 23 h 35"/>
                <a:gd name="T8" fmla="*/ 10 w 19"/>
                <a:gd name="T9" fmla="*/ 20 h 35"/>
                <a:gd name="T10" fmla="*/ 10 w 19"/>
                <a:gd name="T11" fmla="*/ 25 h 35"/>
                <a:gd name="T12" fmla="*/ 14 w 19"/>
                <a:gd name="T13" fmla="*/ 33 h 35"/>
                <a:gd name="T14" fmla="*/ 6 w 19"/>
                <a:gd name="T15" fmla="*/ 35 h 35"/>
                <a:gd name="T16" fmla="*/ 6 w 19"/>
                <a:gd name="T17" fmla="*/ 25 h 35"/>
                <a:gd name="T18" fmla="*/ 2 w 19"/>
                <a:gd name="T19" fmla="*/ 25 h 35"/>
                <a:gd name="T20" fmla="*/ 0 w 19"/>
                <a:gd name="T21" fmla="*/ 16 h 35"/>
                <a:gd name="T22" fmla="*/ 8 w 19"/>
                <a:gd name="T23" fmla="*/ 18 h 35"/>
                <a:gd name="T24" fmla="*/ 8 w 19"/>
                <a:gd name="T25" fmla="*/ 14 h 35"/>
                <a:gd name="T26" fmla="*/ 0 w 19"/>
                <a:gd name="T27"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9" h="35">
                  <a:moveTo>
                    <a:pt x="0" y="0"/>
                  </a:moveTo>
                  <a:lnTo>
                    <a:pt x="14" y="2"/>
                  </a:lnTo>
                  <a:lnTo>
                    <a:pt x="17" y="8"/>
                  </a:lnTo>
                  <a:lnTo>
                    <a:pt x="19" y="23"/>
                  </a:lnTo>
                  <a:lnTo>
                    <a:pt x="10" y="20"/>
                  </a:lnTo>
                  <a:lnTo>
                    <a:pt x="10" y="25"/>
                  </a:lnTo>
                  <a:lnTo>
                    <a:pt x="14" y="33"/>
                  </a:lnTo>
                  <a:lnTo>
                    <a:pt x="6" y="35"/>
                  </a:lnTo>
                  <a:lnTo>
                    <a:pt x="6" y="25"/>
                  </a:lnTo>
                  <a:lnTo>
                    <a:pt x="2" y="25"/>
                  </a:lnTo>
                  <a:lnTo>
                    <a:pt x="0" y="16"/>
                  </a:lnTo>
                  <a:lnTo>
                    <a:pt x="8" y="18"/>
                  </a:lnTo>
                  <a:lnTo>
                    <a:pt x="8" y="14"/>
                  </a:lnTo>
                  <a:lnTo>
                    <a:pt x="0" y="0"/>
                  </a:lnTo>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94" name="Freeform 89">
              <a:extLst>
                <a:ext uri="{FF2B5EF4-FFF2-40B4-BE49-F238E27FC236}">
                  <a16:creationId xmlns:a16="http://schemas.microsoft.com/office/drawing/2014/main" id="{CA94A369-AEB2-86E2-F307-0A4EF4DA0207}"/>
                </a:ext>
              </a:extLst>
            </p:cNvPr>
            <p:cNvSpPr>
              <a:spLocks/>
            </p:cNvSpPr>
            <p:nvPr/>
          </p:nvSpPr>
          <p:spPr bwMode="auto">
            <a:xfrm>
              <a:off x="7029450" y="4203029"/>
              <a:ext cx="26988" cy="27000"/>
            </a:xfrm>
            <a:custGeom>
              <a:avLst/>
              <a:gdLst>
                <a:gd name="T0" fmla="*/ 0 w 17"/>
                <a:gd name="T1" fmla="*/ 0 h 17"/>
                <a:gd name="T2" fmla="*/ 11 w 17"/>
                <a:gd name="T3" fmla="*/ 0 h 17"/>
                <a:gd name="T4" fmla="*/ 17 w 17"/>
                <a:gd name="T5" fmla="*/ 6 h 17"/>
                <a:gd name="T6" fmla="*/ 13 w 17"/>
                <a:gd name="T7" fmla="*/ 17 h 17"/>
                <a:gd name="T8" fmla="*/ 5 w 17"/>
                <a:gd name="T9" fmla="*/ 9 h 17"/>
                <a:gd name="T10" fmla="*/ 0 w 17"/>
                <a:gd name="T11" fmla="*/ 0 h 17"/>
              </a:gdLst>
              <a:ahLst/>
              <a:cxnLst>
                <a:cxn ang="0">
                  <a:pos x="T0" y="T1"/>
                </a:cxn>
                <a:cxn ang="0">
                  <a:pos x="T2" y="T3"/>
                </a:cxn>
                <a:cxn ang="0">
                  <a:pos x="T4" y="T5"/>
                </a:cxn>
                <a:cxn ang="0">
                  <a:pos x="T6" y="T7"/>
                </a:cxn>
                <a:cxn ang="0">
                  <a:pos x="T8" y="T9"/>
                </a:cxn>
                <a:cxn ang="0">
                  <a:pos x="T10" y="T11"/>
                </a:cxn>
              </a:cxnLst>
              <a:rect l="0" t="0" r="r" b="b"/>
              <a:pathLst>
                <a:path w="17" h="17">
                  <a:moveTo>
                    <a:pt x="0" y="0"/>
                  </a:moveTo>
                  <a:lnTo>
                    <a:pt x="11" y="0"/>
                  </a:lnTo>
                  <a:lnTo>
                    <a:pt x="17" y="6"/>
                  </a:lnTo>
                  <a:lnTo>
                    <a:pt x="13" y="17"/>
                  </a:lnTo>
                  <a:lnTo>
                    <a:pt x="5" y="9"/>
                  </a:lnTo>
                  <a:lnTo>
                    <a:pt x="0" y="0"/>
                  </a:lnTo>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95" name="Freeform 91">
              <a:extLst>
                <a:ext uri="{FF2B5EF4-FFF2-40B4-BE49-F238E27FC236}">
                  <a16:creationId xmlns:a16="http://schemas.microsoft.com/office/drawing/2014/main" id="{E67680FE-210A-69F8-5D89-759401DED68B}"/>
                </a:ext>
              </a:extLst>
            </p:cNvPr>
            <p:cNvSpPr>
              <a:spLocks/>
            </p:cNvSpPr>
            <p:nvPr/>
          </p:nvSpPr>
          <p:spPr bwMode="auto">
            <a:xfrm>
              <a:off x="7019925" y="4090266"/>
              <a:ext cx="93663" cy="133410"/>
            </a:xfrm>
            <a:custGeom>
              <a:avLst/>
              <a:gdLst>
                <a:gd name="T0" fmla="*/ 11 w 59"/>
                <a:gd name="T1" fmla="*/ 0 h 84"/>
                <a:gd name="T2" fmla="*/ 19 w 59"/>
                <a:gd name="T3" fmla="*/ 0 h 84"/>
                <a:gd name="T4" fmla="*/ 27 w 59"/>
                <a:gd name="T5" fmla="*/ 2 h 84"/>
                <a:gd name="T6" fmla="*/ 32 w 59"/>
                <a:gd name="T7" fmla="*/ 0 h 84"/>
                <a:gd name="T8" fmla="*/ 34 w 59"/>
                <a:gd name="T9" fmla="*/ 2 h 84"/>
                <a:gd name="T10" fmla="*/ 30 w 59"/>
                <a:gd name="T11" fmla="*/ 9 h 84"/>
                <a:gd name="T12" fmla="*/ 36 w 59"/>
                <a:gd name="T13" fmla="*/ 19 h 84"/>
                <a:gd name="T14" fmla="*/ 32 w 59"/>
                <a:gd name="T15" fmla="*/ 31 h 84"/>
                <a:gd name="T16" fmla="*/ 25 w 59"/>
                <a:gd name="T17" fmla="*/ 36 h 84"/>
                <a:gd name="T18" fmla="*/ 23 w 59"/>
                <a:gd name="T19" fmla="*/ 48 h 84"/>
                <a:gd name="T20" fmla="*/ 27 w 59"/>
                <a:gd name="T21" fmla="*/ 57 h 84"/>
                <a:gd name="T22" fmla="*/ 32 w 59"/>
                <a:gd name="T23" fmla="*/ 59 h 84"/>
                <a:gd name="T24" fmla="*/ 40 w 59"/>
                <a:gd name="T25" fmla="*/ 57 h 84"/>
                <a:gd name="T26" fmla="*/ 55 w 59"/>
                <a:gd name="T27" fmla="*/ 67 h 84"/>
                <a:gd name="T28" fmla="*/ 54 w 59"/>
                <a:gd name="T29" fmla="*/ 75 h 84"/>
                <a:gd name="T30" fmla="*/ 59 w 59"/>
                <a:gd name="T31" fmla="*/ 79 h 84"/>
                <a:gd name="T32" fmla="*/ 57 w 59"/>
                <a:gd name="T33" fmla="*/ 84 h 84"/>
                <a:gd name="T34" fmla="*/ 48 w 59"/>
                <a:gd name="T35" fmla="*/ 77 h 84"/>
                <a:gd name="T36" fmla="*/ 42 w 59"/>
                <a:gd name="T37" fmla="*/ 69 h 84"/>
                <a:gd name="T38" fmla="*/ 40 w 59"/>
                <a:gd name="T39" fmla="*/ 75 h 84"/>
                <a:gd name="T40" fmla="*/ 29 w 59"/>
                <a:gd name="T41" fmla="*/ 67 h 84"/>
                <a:gd name="T42" fmla="*/ 17 w 59"/>
                <a:gd name="T43" fmla="*/ 69 h 84"/>
                <a:gd name="T44" fmla="*/ 11 w 59"/>
                <a:gd name="T45" fmla="*/ 65 h 84"/>
                <a:gd name="T46" fmla="*/ 11 w 59"/>
                <a:gd name="T47" fmla="*/ 59 h 84"/>
                <a:gd name="T48" fmla="*/ 15 w 59"/>
                <a:gd name="T49" fmla="*/ 55 h 84"/>
                <a:gd name="T50" fmla="*/ 11 w 59"/>
                <a:gd name="T51" fmla="*/ 54 h 84"/>
                <a:gd name="T52" fmla="*/ 9 w 59"/>
                <a:gd name="T53" fmla="*/ 57 h 84"/>
                <a:gd name="T54" fmla="*/ 2 w 59"/>
                <a:gd name="T55" fmla="*/ 50 h 84"/>
                <a:gd name="T56" fmla="*/ 2 w 59"/>
                <a:gd name="T57" fmla="*/ 42 h 84"/>
                <a:gd name="T58" fmla="*/ 0 w 59"/>
                <a:gd name="T59" fmla="*/ 31 h 84"/>
                <a:gd name="T60" fmla="*/ 6 w 59"/>
                <a:gd name="T61" fmla="*/ 34 h 84"/>
                <a:gd name="T62" fmla="*/ 7 w 59"/>
                <a:gd name="T63" fmla="*/ 13 h 84"/>
                <a:gd name="T64" fmla="*/ 11 w 59"/>
                <a:gd name="T65" fmla="*/ 0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9" h="84">
                  <a:moveTo>
                    <a:pt x="11" y="0"/>
                  </a:moveTo>
                  <a:lnTo>
                    <a:pt x="19" y="0"/>
                  </a:lnTo>
                  <a:lnTo>
                    <a:pt x="27" y="2"/>
                  </a:lnTo>
                  <a:lnTo>
                    <a:pt x="32" y="0"/>
                  </a:lnTo>
                  <a:lnTo>
                    <a:pt x="34" y="2"/>
                  </a:lnTo>
                  <a:lnTo>
                    <a:pt x="30" y="9"/>
                  </a:lnTo>
                  <a:lnTo>
                    <a:pt x="36" y="19"/>
                  </a:lnTo>
                  <a:lnTo>
                    <a:pt x="32" y="31"/>
                  </a:lnTo>
                  <a:lnTo>
                    <a:pt x="25" y="36"/>
                  </a:lnTo>
                  <a:lnTo>
                    <a:pt x="23" y="48"/>
                  </a:lnTo>
                  <a:lnTo>
                    <a:pt x="27" y="57"/>
                  </a:lnTo>
                  <a:lnTo>
                    <a:pt x="32" y="59"/>
                  </a:lnTo>
                  <a:lnTo>
                    <a:pt x="40" y="57"/>
                  </a:lnTo>
                  <a:lnTo>
                    <a:pt x="55" y="67"/>
                  </a:lnTo>
                  <a:lnTo>
                    <a:pt x="54" y="75"/>
                  </a:lnTo>
                  <a:lnTo>
                    <a:pt x="59" y="79"/>
                  </a:lnTo>
                  <a:lnTo>
                    <a:pt x="57" y="84"/>
                  </a:lnTo>
                  <a:lnTo>
                    <a:pt x="48" y="77"/>
                  </a:lnTo>
                  <a:lnTo>
                    <a:pt x="42" y="69"/>
                  </a:lnTo>
                  <a:lnTo>
                    <a:pt x="40" y="75"/>
                  </a:lnTo>
                  <a:lnTo>
                    <a:pt x="29" y="67"/>
                  </a:lnTo>
                  <a:lnTo>
                    <a:pt x="17" y="69"/>
                  </a:lnTo>
                  <a:lnTo>
                    <a:pt x="11" y="65"/>
                  </a:lnTo>
                  <a:lnTo>
                    <a:pt x="11" y="59"/>
                  </a:lnTo>
                  <a:lnTo>
                    <a:pt x="15" y="55"/>
                  </a:lnTo>
                  <a:lnTo>
                    <a:pt x="11" y="54"/>
                  </a:lnTo>
                  <a:lnTo>
                    <a:pt x="9" y="57"/>
                  </a:lnTo>
                  <a:lnTo>
                    <a:pt x="2" y="50"/>
                  </a:lnTo>
                  <a:lnTo>
                    <a:pt x="2" y="42"/>
                  </a:lnTo>
                  <a:lnTo>
                    <a:pt x="0" y="31"/>
                  </a:lnTo>
                  <a:lnTo>
                    <a:pt x="6" y="34"/>
                  </a:lnTo>
                  <a:lnTo>
                    <a:pt x="7" y="13"/>
                  </a:lnTo>
                  <a:lnTo>
                    <a:pt x="11" y="0"/>
                  </a:lnTo>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96" name="Freeform 93">
              <a:extLst>
                <a:ext uri="{FF2B5EF4-FFF2-40B4-BE49-F238E27FC236}">
                  <a16:creationId xmlns:a16="http://schemas.microsoft.com/office/drawing/2014/main" id="{92B52C1F-7A45-0A4B-9590-F271242B590D}"/>
                </a:ext>
              </a:extLst>
            </p:cNvPr>
            <p:cNvSpPr>
              <a:spLocks/>
            </p:cNvSpPr>
            <p:nvPr/>
          </p:nvSpPr>
          <p:spPr bwMode="auto">
            <a:xfrm>
              <a:off x="2879726" y="4090266"/>
              <a:ext cx="39688" cy="12706"/>
            </a:xfrm>
            <a:custGeom>
              <a:avLst/>
              <a:gdLst>
                <a:gd name="T0" fmla="*/ 2 w 25"/>
                <a:gd name="T1" fmla="*/ 0 h 8"/>
                <a:gd name="T2" fmla="*/ 14 w 25"/>
                <a:gd name="T3" fmla="*/ 0 h 8"/>
                <a:gd name="T4" fmla="*/ 19 w 25"/>
                <a:gd name="T5" fmla="*/ 0 h 8"/>
                <a:gd name="T6" fmla="*/ 25 w 25"/>
                <a:gd name="T7" fmla="*/ 2 h 8"/>
                <a:gd name="T8" fmla="*/ 19 w 25"/>
                <a:gd name="T9" fmla="*/ 6 h 8"/>
                <a:gd name="T10" fmla="*/ 10 w 25"/>
                <a:gd name="T11" fmla="*/ 6 h 8"/>
                <a:gd name="T12" fmla="*/ 2 w 25"/>
                <a:gd name="T13" fmla="*/ 8 h 8"/>
                <a:gd name="T14" fmla="*/ 0 w 25"/>
                <a:gd name="T15" fmla="*/ 2 h 8"/>
                <a:gd name="T16" fmla="*/ 2 w 25"/>
                <a:gd name="T17"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8">
                  <a:moveTo>
                    <a:pt x="2" y="0"/>
                  </a:moveTo>
                  <a:lnTo>
                    <a:pt x="14" y="0"/>
                  </a:lnTo>
                  <a:lnTo>
                    <a:pt x="19" y="0"/>
                  </a:lnTo>
                  <a:lnTo>
                    <a:pt x="25" y="2"/>
                  </a:lnTo>
                  <a:lnTo>
                    <a:pt x="19" y="6"/>
                  </a:lnTo>
                  <a:lnTo>
                    <a:pt x="10" y="6"/>
                  </a:lnTo>
                  <a:lnTo>
                    <a:pt x="2" y="8"/>
                  </a:lnTo>
                  <a:lnTo>
                    <a:pt x="0" y="2"/>
                  </a:lnTo>
                  <a:lnTo>
                    <a:pt x="2" y="0"/>
                  </a:lnTo>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97" name="Freeform 95">
              <a:extLst>
                <a:ext uri="{FF2B5EF4-FFF2-40B4-BE49-F238E27FC236}">
                  <a16:creationId xmlns:a16="http://schemas.microsoft.com/office/drawing/2014/main" id="{A18CF9C1-1F8D-9D1B-5C43-2C7A53D28013}"/>
                </a:ext>
              </a:extLst>
            </p:cNvPr>
            <p:cNvSpPr>
              <a:spLocks/>
            </p:cNvSpPr>
            <p:nvPr/>
          </p:nvSpPr>
          <p:spPr bwMode="auto">
            <a:xfrm>
              <a:off x="2636838" y="4090266"/>
              <a:ext cx="44450" cy="17471"/>
            </a:xfrm>
            <a:custGeom>
              <a:avLst/>
              <a:gdLst>
                <a:gd name="T0" fmla="*/ 5 w 28"/>
                <a:gd name="T1" fmla="*/ 0 h 11"/>
                <a:gd name="T2" fmla="*/ 9 w 28"/>
                <a:gd name="T3" fmla="*/ 0 h 11"/>
                <a:gd name="T4" fmla="*/ 19 w 28"/>
                <a:gd name="T5" fmla="*/ 2 h 11"/>
                <a:gd name="T6" fmla="*/ 26 w 28"/>
                <a:gd name="T7" fmla="*/ 4 h 11"/>
                <a:gd name="T8" fmla="*/ 28 w 28"/>
                <a:gd name="T9" fmla="*/ 8 h 11"/>
                <a:gd name="T10" fmla="*/ 19 w 28"/>
                <a:gd name="T11" fmla="*/ 8 h 11"/>
                <a:gd name="T12" fmla="*/ 15 w 28"/>
                <a:gd name="T13" fmla="*/ 11 h 11"/>
                <a:gd name="T14" fmla="*/ 7 w 28"/>
                <a:gd name="T15" fmla="*/ 8 h 11"/>
                <a:gd name="T16" fmla="*/ 0 w 28"/>
                <a:gd name="T17" fmla="*/ 2 h 11"/>
                <a:gd name="T18" fmla="*/ 1 w 28"/>
                <a:gd name="T19" fmla="*/ 0 h 11"/>
                <a:gd name="T20" fmla="*/ 5 w 28"/>
                <a:gd name="T21"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8" h="11">
                  <a:moveTo>
                    <a:pt x="5" y="0"/>
                  </a:moveTo>
                  <a:lnTo>
                    <a:pt x="9" y="0"/>
                  </a:lnTo>
                  <a:lnTo>
                    <a:pt x="19" y="2"/>
                  </a:lnTo>
                  <a:lnTo>
                    <a:pt x="26" y="4"/>
                  </a:lnTo>
                  <a:lnTo>
                    <a:pt x="28" y="8"/>
                  </a:lnTo>
                  <a:lnTo>
                    <a:pt x="19" y="8"/>
                  </a:lnTo>
                  <a:lnTo>
                    <a:pt x="15" y="11"/>
                  </a:lnTo>
                  <a:lnTo>
                    <a:pt x="7" y="8"/>
                  </a:lnTo>
                  <a:lnTo>
                    <a:pt x="0" y="2"/>
                  </a:lnTo>
                  <a:lnTo>
                    <a:pt x="1" y="0"/>
                  </a:lnTo>
                  <a:lnTo>
                    <a:pt x="5" y="0"/>
                  </a:lnTo>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98" name="Freeform 97">
              <a:extLst>
                <a:ext uri="{FF2B5EF4-FFF2-40B4-BE49-F238E27FC236}">
                  <a16:creationId xmlns:a16="http://schemas.microsoft.com/office/drawing/2014/main" id="{B848C0F6-DD14-D633-1C8B-9540C91D72F3}"/>
                </a:ext>
              </a:extLst>
            </p:cNvPr>
            <p:cNvSpPr>
              <a:spLocks/>
            </p:cNvSpPr>
            <p:nvPr/>
          </p:nvSpPr>
          <p:spPr bwMode="auto">
            <a:xfrm>
              <a:off x="2720976" y="4056913"/>
              <a:ext cx="134938" cy="53999"/>
            </a:xfrm>
            <a:custGeom>
              <a:avLst/>
              <a:gdLst>
                <a:gd name="T0" fmla="*/ 18 w 85"/>
                <a:gd name="T1" fmla="*/ 0 h 34"/>
                <a:gd name="T2" fmla="*/ 27 w 85"/>
                <a:gd name="T3" fmla="*/ 0 h 34"/>
                <a:gd name="T4" fmla="*/ 39 w 85"/>
                <a:gd name="T5" fmla="*/ 2 h 34"/>
                <a:gd name="T6" fmla="*/ 41 w 85"/>
                <a:gd name="T7" fmla="*/ 11 h 34"/>
                <a:gd name="T8" fmla="*/ 39 w 85"/>
                <a:gd name="T9" fmla="*/ 2 h 34"/>
                <a:gd name="T10" fmla="*/ 41 w 85"/>
                <a:gd name="T11" fmla="*/ 0 h 34"/>
                <a:gd name="T12" fmla="*/ 50 w 85"/>
                <a:gd name="T13" fmla="*/ 0 h 34"/>
                <a:gd name="T14" fmla="*/ 58 w 85"/>
                <a:gd name="T15" fmla="*/ 4 h 34"/>
                <a:gd name="T16" fmla="*/ 64 w 85"/>
                <a:gd name="T17" fmla="*/ 4 h 34"/>
                <a:gd name="T18" fmla="*/ 66 w 85"/>
                <a:gd name="T19" fmla="*/ 9 h 34"/>
                <a:gd name="T20" fmla="*/ 73 w 85"/>
                <a:gd name="T21" fmla="*/ 9 h 34"/>
                <a:gd name="T22" fmla="*/ 71 w 85"/>
                <a:gd name="T23" fmla="*/ 13 h 34"/>
                <a:gd name="T24" fmla="*/ 79 w 85"/>
                <a:gd name="T25" fmla="*/ 13 h 34"/>
                <a:gd name="T26" fmla="*/ 85 w 85"/>
                <a:gd name="T27" fmla="*/ 19 h 34"/>
                <a:gd name="T28" fmla="*/ 81 w 85"/>
                <a:gd name="T29" fmla="*/ 23 h 34"/>
                <a:gd name="T30" fmla="*/ 73 w 85"/>
                <a:gd name="T31" fmla="*/ 21 h 34"/>
                <a:gd name="T32" fmla="*/ 67 w 85"/>
                <a:gd name="T33" fmla="*/ 23 h 34"/>
                <a:gd name="T34" fmla="*/ 64 w 85"/>
                <a:gd name="T35" fmla="*/ 21 h 34"/>
                <a:gd name="T36" fmla="*/ 60 w 85"/>
                <a:gd name="T37" fmla="*/ 23 h 34"/>
                <a:gd name="T38" fmla="*/ 54 w 85"/>
                <a:gd name="T39" fmla="*/ 25 h 34"/>
                <a:gd name="T40" fmla="*/ 52 w 85"/>
                <a:gd name="T41" fmla="*/ 21 h 34"/>
                <a:gd name="T42" fmla="*/ 48 w 85"/>
                <a:gd name="T43" fmla="*/ 23 h 34"/>
                <a:gd name="T44" fmla="*/ 43 w 85"/>
                <a:gd name="T45" fmla="*/ 34 h 34"/>
                <a:gd name="T46" fmla="*/ 39 w 85"/>
                <a:gd name="T47" fmla="*/ 30 h 34"/>
                <a:gd name="T48" fmla="*/ 39 w 85"/>
                <a:gd name="T49" fmla="*/ 27 h 34"/>
                <a:gd name="T50" fmla="*/ 39 w 85"/>
                <a:gd name="T51" fmla="*/ 23 h 34"/>
                <a:gd name="T52" fmla="*/ 39 w 85"/>
                <a:gd name="T53" fmla="*/ 27 h 34"/>
                <a:gd name="T54" fmla="*/ 29 w 85"/>
                <a:gd name="T55" fmla="*/ 23 h 34"/>
                <a:gd name="T56" fmla="*/ 23 w 85"/>
                <a:gd name="T57" fmla="*/ 25 h 34"/>
                <a:gd name="T58" fmla="*/ 14 w 85"/>
                <a:gd name="T59" fmla="*/ 23 h 34"/>
                <a:gd name="T60" fmla="*/ 8 w 85"/>
                <a:gd name="T61" fmla="*/ 27 h 34"/>
                <a:gd name="T62" fmla="*/ 0 w 85"/>
                <a:gd name="T63" fmla="*/ 23 h 34"/>
                <a:gd name="T64" fmla="*/ 2 w 85"/>
                <a:gd name="T65" fmla="*/ 17 h 34"/>
                <a:gd name="T66" fmla="*/ 14 w 85"/>
                <a:gd name="T67" fmla="*/ 21 h 34"/>
                <a:gd name="T68" fmla="*/ 25 w 85"/>
                <a:gd name="T69" fmla="*/ 21 h 34"/>
                <a:gd name="T70" fmla="*/ 29 w 85"/>
                <a:gd name="T71" fmla="*/ 17 h 34"/>
                <a:gd name="T72" fmla="*/ 23 w 85"/>
                <a:gd name="T73" fmla="*/ 13 h 34"/>
                <a:gd name="T74" fmla="*/ 23 w 85"/>
                <a:gd name="T75" fmla="*/ 9 h 34"/>
                <a:gd name="T76" fmla="*/ 23 w 85"/>
                <a:gd name="T77" fmla="*/ 5 h 34"/>
                <a:gd name="T78" fmla="*/ 14 w 85"/>
                <a:gd name="T79" fmla="*/ 4 h 34"/>
                <a:gd name="T80" fmla="*/ 18 w 85"/>
                <a:gd name="T81"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85" h="34">
                  <a:moveTo>
                    <a:pt x="18" y="0"/>
                  </a:moveTo>
                  <a:lnTo>
                    <a:pt x="27" y="0"/>
                  </a:lnTo>
                  <a:lnTo>
                    <a:pt x="39" y="2"/>
                  </a:lnTo>
                  <a:lnTo>
                    <a:pt x="41" y="11"/>
                  </a:lnTo>
                  <a:lnTo>
                    <a:pt x="39" y="2"/>
                  </a:lnTo>
                  <a:lnTo>
                    <a:pt x="41" y="0"/>
                  </a:lnTo>
                  <a:lnTo>
                    <a:pt x="50" y="0"/>
                  </a:lnTo>
                  <a:lnTo>
                    <a:pt x="58" y="4"/>
                  </a:lnTo>
                  <a:lnTo>
                    <a:pt x="64" y="4"/>
                  </a:lnTo>
                  <a:lnTo>
                    <a:pt x="66" y="9"/>
                  </a:lnTo>
                  <a:lnTo>
                    <a:pt x="73" y="9"/>
                  </a:lnTo>
                  <a:lnTo>
                    <a:pt x="71" y="13"/>
                  </a:lnTo>
                  <a:lnTo>
                    <a:pt x="79" y="13"/>
                  </a:lnTo>
                  <a:lnTo>
                    <a:pt x="85" y="19"/>
                  </a:lnTo>
                  <a:lnTo>
                    <a:pt x="81" y="23"/>
                  </a:lnTo>
                  <a:lnTo>
                    <a:pt x="73" y="21"/>
                  </a:lnTo>
                  <a:lnTo>
                    <a:pt x="67" y="23"/>
                  </a:lnTo>
                  <a:lnTo>
                    <a:pt x="64" y="21"/>
                  </a:lnTo>
                  <a:lnTo>
                    <a:pt x="60" y="23"/>
                  </a:lnTo>
                  <a:lnTo>
                    <a:pt x="54" y="25"/>
                  </a:lnTo>
                  <a:lnTo>
                    <a:pt x="52" y="21"/>
                  </a:lnTo>
                  <a:lnTo>
                    <a:pt x="48" y="23"/>
                  </a:lnTo>
                  <a:lnTo>
                    <a:pt x="43" y="34"/>
                  </a:lnTo>
                  <a:lnTo>
                    <a:pt x="39" y="30"/>
                  </a:lnTo>
                  <a:lnTo>
                    <a:pt x="39" y="27"/>
                  </a:lnTo>
                  <a:lnTo>
                    <a:pt x="39" y="23"/>
                  </a:lnTo>
                  <a:lnTo>
                    <a:pt x="39" y="27"/>
                  </a:lnTo>
                  <a:lnTo>
                    <a:pt x="29" y="23"/>
                  </a:lnTo>
                  <a:lnTo>
                    <a:pt x="23" y="25"/>
                  </a:lnTo>
                  <a:lnTo>
                    <a:pt x="14" y="23"/>
                  </a:lnTo>
                  <a:lnTo>
                    <a:pt x="8" y="27"/>
                  </a:lnTo>
                  <a:lnTo>
                    <a:pt x="0" y="23"/>
                  </a:lnTo>
                  <a:lnTo>
                    <a:pt x="2" y="17"/>
                  </a:lnTo>
                  <a:lnTo>
                    <a:pt x="14" y="21"/>
                  </a:lnTo>
                  <a:lnTo>
                    <a:pt x="25" y="21"/>
                  </a:lnTo>
                  <a:lnTo>
                    <a:pt x="29" y="17"/>
                  </a:lnTo>
                  <a:lnTo>
                    <a:pt x="23" y="13"/>
                  </a:lnTo>
                  <a:lnTo>
                    <a:pt x="23" y="9"/>
                  </a:lnTo>
                  <a:lnTo>
                    <a:pt x="23" y="5"/>
                  </a:lnTo>
                  <a:lnTo>
                    <a:pt x="14" y="4"/>
                  </a:lnTo>
                  <a:lnTo>
                    <a:pt x="18" y="0"/>
                  </a:lnTo>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99" name="Freeform 99">
              <a:extLst>
                <a:ext uri="{FF2B5EF4-FFF2-40B4-BE49-F238E27FC236}">
                  <a16:creationId xmlns:a16="http://schemas.microsoft.com/office/drawing/2014/main" id="{B09EF6FA-C532-5324-DFD2-E1140B489433}"/>
                </a:ext>
              </a:extLst>
            </p:cNvPr>
            <p:cNvSpPr>
              <a:spLocks/>
            </p:cNvSpPr>
            <p:nvPr/>
          </p:nvSpPr>
          <p:spPr bwMode="auto">
            <a:xfrm>
              <a:off x="6769100" y="4050560"/>
              <a:ext cx="55563" cy="42882"/>
            </a:xfrm>
            <a:custGeom>
              <a:avLst/>
              <a:gdLst>
                <a:gd name="T0" fmla="*/ 23 w 35"/>
                <a:gd name="T1" fmla="*/ 0 h 27"/>
                <a:gd name="T2" fmla="*/ 31 w 35"/>
                <a:gd name="T3" fmla="*/ 0 h 27"/>
                <a:gd name="T4" fmla="*/ 35 w 35"/>
                <a:gd name="T5" fmla="*/ 6 h 27"/>
                <a:gd name="T6" fmla="*/ 27 w 35"/>
                <a:gd name="T7" fmla="*/ 13 h 27"/>
                <a:gd name="T8" fmla="*/ 25 w 35"/>
                <a:gd name="T9" fmla="*/ 21 h 27"/>
                <a:gd name="T10" fmla="*/ 14 w 35"/>
                <a:gd name="T11" fmla="*/ 27 h 27"/>
                <a:gd name="T12" fmla="*/ 0 w 35"/>
                <a:gd name="T13" fmla="*/ 25 h 27"/>
                <a:gd name="T14" fmla="*/ 0 w 35"/>
                <a:gd name="T15" fmla="*/ 11 h 27"/>
                <a:gd name="T16" fmla="*/ 8 w 35"/>
                <a:gd name="T17" fmla="*/ 4 h 27"/>
                <a:gd name="T18" fmla="*/ 23 w 35"/>
                <a:gd name="T19" fmla="*/ 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5" h="27">
                  <a:moveTo>
                    <a:pt x="23" y="0"/>
                  </a:moveTo>
                  <a:lnTo>
                    <a:pt x="31" y="0"/>
                  </a:lnTo>
                  <a:lnTo>
                    <a:pt x="35" y="6"/>
                  </a:lnTo>
                  <a:lnTo>
                    <a:pt x="27" y="13"/>
                  </a:lnTo>
                  <a:lnTo>
                    <a:pt x="25" y="21"/>
                  </a:lnTo>
                  <a:lnTo>
                    <a:pt x="14" y="27"/>
                  </a:lnTo>
                  <a:lnTo>
                    <a:pt x="0" y="25"/>
                  </a:lnTo>
                  <a:lnTo>
                    <a:pt x="0" y="11"/>
                  </a:lnTo>
                  <a:lnTo>
                    <a:pt x="8" y="4"/>
                  </a:lnTo>
                  <a:lnTo>
                    <a:pt x="23" y="0"/>
                  </a:lnTo>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00" name="Freeform 101">
              <a:extLst>
                <a:ext uri="{FF2B5EF4-FFF2-40B4-BE49-F238E27FC236}">
                  <a16:creationId xmlns:a16="http://schemas.microsoft.com/office/drawing/2014/main" id="{3803902A-1292-4D3C-2F2B-8A64F5E2D3F2}"/>
                </a:ext>
              </a:extLst>
            </p:cNvPr>
            <p:cNvSpPr>
              <a:spLocks/>
            </p:cNvSpPr>
            <p:nvPr/>
          </p:nvSpPr>
          <p:spPr bwMode="auto">
            <a:xfrm>
              <a:off x="917577" y="4050560"/>
              <a:ext cx="28575" cy="27000"/>
            </a:xfrm>
            <a:custGeom>
              <a:avLst/>
              <a:gdLst>
                <a:gd name="T0" fmla="*/ 2 w 18"/>
                <a:gd name="T1" fmla="*/ 0 h 17"/>
                <a:gd name="T2" fmla="*/ 4 w 18"/>
                <a:gd name="T3" fmla="*/ 0 h 17"/>
                <a:gd name="T4" fmla="*/ 10 w 18"/>
                <a:gd name="T5" fmla="*/ 0 h 17"/>
                <a:gd name="T6" fmla="*/ 12 w 18"/>
                <a:gd name="T7" fmla="*/ 2 h 17"/>
                <a:gd name="T8" fmla="*/ 14 w 18"/>
                <a:gd name="T9" fmla="*/ 4 h 17"/>
                <a:gd name="T10" fmla="*/ 18 w 18"/>
                <a:gd name="T11" fmla="*/ 9 h 17"/>
                <a:gd name="T12" fmla="*/ 18 w 18"/>
                <a:gd name="T13" fmla="*/ 11 h 17"/>
                <a:gd name="T14" fmla="*/ 12 w 18"/>
                <a:gd name="T15" fmla="*/ 13 h 17"/>
                <a:gd name="T16" fmla="*/ 8 w 18"/>
                <a:gd name="T17" fmla="*/ 17 h 17"/>
                <a:gd name="T18" fmla="*/ 6 w 18"/>
                <a:gd name="T19" fmla="*/ 17 h 17"/>
                <a:gd name="T20" fmla="*/ 2 w 18"/>
                <a:gd name="T21" fmla="*/ 17 h 17"/>
                <a:gd name="T22" fmla="*/ 2 w 18"/>
                <a:gd name="T23" fmla="*/ 13 h 17"/>
                <a:gd name="T24" fmla="*/ 0 w 18"/>
                <a:gd name="T25" fmla="*/ 6 h 17"/>
                <a:gd name="T26" fmla="*/ 0 w 18"/>
                <a:gd name="T27" fmla="*/ 4 h 17"/>
                <a:gd name="T28" fmla="*/ 4 w 18"/>
                <a:gd name="T29" fmla="*/ 2 h 17"/>
                <a:gd name="T30" fmla="*/ 2 w 18"/>
                <a:gd name="T31"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8" h="17">
                  <a:moveTo>
                    <a:pt x="2" y="0"/>
                  </a:moveTo>
                  <a:lnTo>
                    <a:pt x="4" y="0"/>
                  </a:lnTo>
                  <a:lnTo>
                    <a:pt x="10" y="0"/>
                  </a:lnTo>
                  <a:lnTo>
                    <a:pt x="12" y="2"/>
                  </a:lnTo>
                  <a:lnTo>
                    <a:pt x="14" y="4"/>
                  </a:lnTo>
                  <a:lnTo>
                    <a:pt x="18" y="9"/>
                  </a:lnTo>
                  <a:lnTo>
                    <a:pt x="18" y="11"/>
                  </a:lnTo>
                  <a:lnTo>
                    <a:pt x="12" y="13"/>
                  </a:lnTo>
                  <a:lnTo>
                    <a:pt x="8" y="17"/>
                  </a:lnTo>
                  <a:lnTo>
                    <a:pt x="6" y="17"/>
                  </a:lnTo>
                  <a:lnTo>
                    <a:pt x="2" y="17"/>
                  </a:lnTo>
                  <a:lnTo>
                    <a:pt x="2" y="13"/>
                  </a:lnTo>
                  <a:lnTo>
                    <a:pt x="0" y="6"/>
                  </a:lnTo>
                  <a:lnTo>
                    <a:pt x="0" y="4"/>
                  </a:lnTo>
                  <a:lnTo>
                    <a:pt x="4" y="2"/>
                  </a:lnTo>
                  <a:lnTo>
                    <a:pt x="2" y="0"/>
                  </a:lnTo>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01" name="Freeform 103">
              <a:extLst>
                <a:ext uri="{FF2B5EF4-FFF2-40B4-BE49-F238E27FC236}">
                  <a16:creationId xmlns:a16="http://schemas.microsoft.com/office/drawing/2014/main" id="{5021412D-A931-3961-2043-39347AB6E2B6}"/>
                </a:ext>
              </a:extLst>
            </p:cNvPr>
            <p:cNvSpPr>
              <a:spLocks/>
            </p:cNvSpPr>
            <p:nvPr/>
          </p:nvSpPr>
          <p:spPr bwMode="auto">
            <a:xfrm>
              <a:off x="903289" y="4031501"/>
              <a:ext cx="14288" cy="9529"/>
            </a:xfrm>
            <a:custGeom>
              <a:avLst/>
              <a:gdLst>
                <a:gd name="T0" fmla="*/ 2 w 9"/>
                <a:gd name="T1" fmla="*/ 0 h 6"/>
                <a:gd name="T2" fmla="*/ 6 w 9"/>
                <a:gd name="T3" fmla="*/ 2 h 6"/>
                <a:gd name="T4" fmla="*/ 9 w 9"/>
                <a:gd name="T5" fmla="*/ 2 h 6"/>
                <a:gd name="T6" fmla="*/ 9 w 9"/>
                <a:gd name="T7" fmla="*/ 4 h 6"/>
                <a:gd name="T8" fmla="*/ 4 w 9"/>
                <a:gd name="T9" fmla="*/ 6 h 6"/>
                <a:gd name="T10" fmla="*/ 2 w 9"/>
                <a:gd name="T11" fmla="*/ 2 h 6"/>
                <a:gd name="T12" fmla="*/ 0 w 9"/>
                <a:gd name="T13" fmla="*/ 2 h 6"/>
                <a:gd name="T14" fmla="*/ 2 w 9"/>
                <a:gd name="T15" fmla="*/ 0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 h="6">
                  <a:moveTo>
                    <a:pt x="2" y="0"/>
                  </a:moveTo>
                  <a:lnTo>
                    <a:pt x="6" y="2"/>
                  </a:lnTo>
                  <a:lnTo>
                    <a:pt x="9" y="2"/>
                  </a:lnTo>
                  <a:lnTo>
                    <a:pt x="9" y="4"/>
                  </a:lnTo>
                  <a:lnTo>
                    <a:pt x="4" y="6"/>
                  </a:lnTo>
                  <a:lnTo>
                    <a:pt x="2" y="2"/>
                  </a:lnTo>
                  <a:lnTo>
                    <a:pt x="0" y="2"/>
                  </a:lnTo>
                  <a:lnTo>
                    <a:pt x="2" y="0"/>
                  </a:lnTo>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02" name="Freeform 105">
              <a:extLst>
                <a:ext uri="{FF2B5EF4-FFF2-40B4-BE49-F238E27FC236}">
                  <a16:creationId xmlns:a16="http://schemas.microsoft.com/office/drawing/2014/main" id="{A2FA4FC1-E6E1-04B1-FE56-069218DEBC17}"/>
                </a:ext>
              </a:extLst>
            </p:cNvPr>
            <p:cNvSpPr>
              <a:spLocks/>
            </p:cNvSpPr>
            <p:nvPr/>
          </p:nvSpPr>
          <p:spPr bwMode="auto">
            <a:xfrm>
              <a:off x="890589" y="4026737"/>
              <a:ext cx="12700" cy="4765"/>
            </a:xfrm>
            <a:custGeom>
              <a:avLst/>
              <a:gdLst>
                <a:gd name="T0" fmla="*/ 0 w 8"/>
                <a:gd name="T1" fmla="*/ 0 h 3"/>
                <a:gd name="T2" fmla="*/ 8 w 8"/>
                <a:gd name="T3" fmla="*/ 1 h 3"/>
                <a:gd name="T4" fmla="*/ 8 w 8"/>
                <a:gd name="T5" fmla="*/ 3 h 3"/>
                <a:gd name="T6" fmla="*/ 0 w 8"/>
                <a:gd name="T7" fmla="*/ 1 h 3"/>
                <a:gd name="T8" fmla="*/ 0 w 8"/>
                <a:gd name="T9" fmla="*/ 0 h 3"/>
              </a:gdLst>
              <a:ahLst/>
              <a:cxnLst>
                <a:cxn ang="0">
                  <a:pos x="T0" y="T1"/>
                </a:cxn>
                <a:cxn ang="0">
                  <a:pos x="T2" y="T3"/>
                </a:cxn>
                <a:cxn ang="0">
                  <a:pos x="T4" y="T5"/>
                </a:cxn>
                <a:cxn ang="0">
                  <a:pos x="T6" y="T7"/>
                </a:cxn>
                <a:cxn ang="0">
                  <a:pos x="T8" y="T9"/>
                </a:cxn>
              </a:cxnLst>
              <a:rect l="0" t="0" r="r" b="b"/>
              <a:pathLst>
                <a:path w="8" h="3">
                  <a:moveTo>
                    <a:pt x="0" y="0"/>
                  </a:moveTo>
                  <a:lnTo>
                    <a:pt x="8" y="1"/>
                  </a:lnTo>
                  <a:lnTo>
                    <a:pt x="8" y="3"/>
                  </a:lnTo>
                  <a:lnTo>
                    <a:pt x="0" y="1"/>
                  </a:lnTo>
                  <a:lnTo>
                    <a:pt x="0" y="0"/>
                  </a:lnTo>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03" name="Freeform 107">
              <a:extLst>
                <a:ext uri="{FF2B5EF4-FFF2-40B4-BE49-F238E27FC236}">
                  <a16:creationId xmlns:a16="http://schemas.microsoft.com/office/drawing/2014/main" id="{7DAAF864-100A-C343-8543-6F283832F1F9}"/>
                </a:ext>
              </a:extLst>
            </p:cNvPr>
            <p:cNvSpPr>
              <a:spLocks/>
            </p:cNvSpPr>
            <p:nvPr/>
          </p:nvSpPr>
          <p:spPr bwMode="auto">
            <a:xfrm>
              <a:off x="869952" y="4014032"/>
              <a:ext cx="14288" cy="12706"/>
            </a:xfrm>
            <a:custGeom>
              <a:avLst/>
              <a:gdLst>
                <a:gd name="T0" fmla="*/ 2 w 9"/>
                <a:gd name="T1" fmla="*/ 0 h 8"/>
                <a:gd name="T2" fmla="*/ 3 w 9"/>
                <a:gd name="T3" fmla="*/ 0 h 8"/>
                <a:gd name="T4" fmla="*/ 9 w 9"/>
                <a:gd name="T5" fmla="*/ 6 h 8"/>
                <a:gd name="T6" fmla="*/ 7 w 9"/>
                <a:gd name="T7" fmla="*/ 8 h 8"/>
                <a:gd name="T8" fmla="*/ 5 w 9"/>
                <a:gd name="T9" fmla="*/ 8 h 8"/>
                <a:gd name="T10" fmla="*/ 2 w 9"/>
                <a:gd name="T11" fmla="*/ 6 h 8"/>
                <a:gd name="T12" fmla="*/ 0 w 9"/>
                <a:gd name="T13" fmla="*/ 2 h 8"/>
                <a:gd name="T14" fmla="*/ 0 w 9"/>
                <a:gd name="T15" fmla="*/ 2 h 8"/>
                <a:gd name="T16" fmla="*/ 2 w 9"/>
                <a:gd name="T17"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8">
                  <a:moveTo>
                    <a:pt x="2" y="0"/>
                  </a:moveTo>
                  <a:lnTo>
                    <a:pt x="3" y="0"/>
                  </a:lnTo>
                  <a:lnTo>
                    <a:pt x="9" y="6"/>
                  </a:lnTo>
                  <a:lnTo>
                    <a:pt x="7" y="8"/>
                  </a:lnTo>
                  <a:lnTo>
                    <a:pt x="5" y="8"/>
                  </a:lnTo>
                  <a:lnTo>
                    <a:pt x="2" y="6"/>
                  </a:lnTo>
                  <a:lnTo>
                    <a:pt x="0" y="2"/>
                  </a:lnTo>
                  <a:lnTo>
                    <a:pt x="0" y="2"/>
                  </a:lnTo>
                  <a:lnTo>
                    <a:pt x="2" y="0"/>
                  </a:lnTo>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04" name="Freeform 109">
              <a:extLst>
                <a:ext uri="{FF2B5EF4-FFF2-40B4-BE49-F238E27FC236}">
                  <a16:creationId xmlns:a16="http://schemas.microsoft.com/office/drawing/2014/main" id="{907BFA65-9664-7CE6-4481-80FE1263DE00}"/>
                </a:ext>
              </a:extLst>
            </p:cNvPr>
            <p:cNvSpPr>
              <a:spLocks/>
            </p:cNvSpPr>
            <p:nvPr/>
          </p:nvSpPr>
          <p:spPr bwMode="auto">
            <a:xfrm>
              <a:off x="836614" y="4001326"/>
              <a:ext cx="7938" cy="9529"/>
            </a:xfrm>
            <a:custGeom>
              <a:avLst/>
              <a:gdLst>
                <a:gd name="T0" fmla="*/ 1 w 5"/>
                <a:gd name="T1" fmla="*/ 0 h 6"/>
                <a:gd name="T2" fmla="*/ 5 w 5"/>
                <a:gd name="T3" fmla="*/ 2 h 6"/>
                <a:gd name="T4" fmla="*/ 5 w 5"/>
                <a:gd name="T5" fmla="*/ 6 h 6"/>
                <a:gd name="T6" fmla="*/ 3 w 5"/>
                <a:gd name="T7" fmla="*/ 6 h 6"/>
                <a:gd name="T8" fmla="*/ 0 w 5"/>
                <a:gd name="T9" fmla="*/ 4 h 6"/>
                <a:gd name="T10" fmla="*/ 0 w 5"/>
                <a:gd name="T11" fmla="*/ 2 h 6"/>
                <a:gd name="T12" fmla="*/ 1 w 5"/>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5" h="6">
                  <a:moveTo>
                    <a:pt x="1" y="0"/>
                  </a:moveTo>
                  <a:lnTo>
                    <a:pt x="5" y="2"/>
                  </a:lnTo>
                  <a:lnTo>
                    <a:pt x="5" y="6"/>
                  </a:lnTo>
                  <a:lnTo>
                    <a:pt x="3" y="6"/>
                  </a:lnTo>
                  <a:lnTo>
                    <a:pt x="0" y="4"/>
                  </a:lnTo>
                  <a:lnTo>
                    <a:pt x="0" y="2"/>
                  </a:lnTo>
                  <a:lnTo>
                    <a:pt x="1" y="0"/>
                  </a:lnTo>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05" name="Freeform 111">
              <a:extLst>
                <a:ext uri="{FF2B5EF4-FFF2-40B4-BE49-F238E27FC236}">
                  <a16:creationId xmlns:a16="http://schemas.microsoft.com/office/drawing/2014/main" id="{71C16088-543E-9FAE-7942-5C1817E8BCF0}"/>
                </a:ext>
              </a:extLst>
            </p:cNvPr>
            <p:cNvSpPr>
              <a:spLocks/>
            </p:cNvSpPr>
            <p:nvPr/>
          </p:nvSpPr>
          <p:spPr bwMode="auto">
            <a:xfrm>
              <a:off x="2489202" y="3980679"/>
              <a:ext cx="238125" cy="76234"/>
            </a:xfrm>
            <a:custGeom>
              <a:avLst/>
              <a:gdLst>
                <a:gd name="T0" fmla="*/ 37 w 150"/>
                <a:gd name="T1" fmla="*/ 0 h 48"/>
                <a:gd name="T2" fmla="*/ 48 w 150"/>
                <a:gd name="T3" fmla="*/ 2 h 48"/>
                <a:gd name="T4" fmla="*/ 60 w 150"/>
                <a:gd name="T5" fmla="*/ 2 h 48"/>
                <a:gd name="T6" fmla="*/ 73 w 150"/>
                <a:gd name="T7" fmla="*/ 6 h 48"/>
                <a:gd name="T8" fmla="*/ 79 w 150"/>
                <a:gd name="T9" fmla="*/ 11 h 48"/>
                <a:gd name="T10" fmla="*/ 93 w 150"/>
                <a:gd name="T11" fmla="*/ 9 h 48"/>
                <a:gd name="T12" fmla="*/ 96 w 150"/>
                <a:gd name="T13" fmla="*/ 13 h 48"/>
                <a:gd name="T14" fmla="*/ 110 w 150"/>
                <a:gd name="T15" fmla="*/ 21 h 48"/>
                <a:gd name="T16" fmla="*/ 118 w 150"/>
                <a:gd name="T17" fmla="*/ 29 h 48"/>
                <a:gd name="T18" fmla="*/ 121 w 150"/>
                <a:gd name="T19" fmla="*/ 29 h 48"/>
                <a:gd name="T20" fmla="*/ 131 w 150"/>
                <a:gd name="T21" fmla="*/ 32 h 48"/>
                <a:gd name="T22" fmla="*/ 129 w 150"/>
                <a:gd name="T23" fmla="*/ 34 h 48"/>
                <a:gd name="T24" fmla="*/ 139 w 150"/>
                <a:gd name="T25" fmla="*/ 36 h 48"/>
                <a:gd name="T26" fmla="*/ 150 w 150"/>
                <a:gd name="T27" fmla="*/ 42 h 48"/>
                <a:gd name="T28" fmla="*/ 148 w 150"/>
                <a:gd name="T29" fmla="*/ 44 h 48"/>
                <a:gd name="T30" fmla="*/ 139 w 150"/>
                <a:gd name="T31" fmla="*/ 48 h 48"/>
                <a:gd name="T32" fmla="*/ 129 w 150"/>
                <a:gd name="T33" fmla="*/ 48 h 48"/>
                <a:gd name="T34" fmla="*/ 121 w 150"/>
                <a:gd name="T35" fmla="*/ 46 h 48"/>
                <a:gd name="T36" fmla="*/ 100 w 150"/>
                <a:gd name="T37" fmla="*/ 48 h 48"/>
                <a:gd name="T38" fmla="*/ 110 w 150"/>
                <a:gd name="T39" fmla="*/ 40 h 48"/>
                <a:gd name="T40" fmla="*/ 104 w 150"/>
                <a:gd name="T41" fmla="*/ 36 h 48"/>
                <a:gd name="T42" fmla="*/ 94 w 150"/>
                <a:gd name="T43" fmla="*/ 34 h 48"/>
                <a:gd name="T44" fmla="*/ 91 w 150"/>
                <a:gd name="T45" fmla="*/ 32 h 48"/>
                <a:gd name="T46" fmla="*/ 87 w 150"/>
                <a:gd name="T47" fmla="*/ 23 h 48"/>
                <a:gd name="T48" fmla="*/ 79 w 150"/>
                <a:gd name="T49" fmla="*/ 23 h 48"/>
                <a:gd name="T50" fmla="*/ 66 w 150"/>
                <a:gd name="T51" fmla="*/ 21 h 48"/>
                <a:gd name="T52" fmla="*/ 62 w 150"/>
                <a:gd name="T53" fmla="*/ 17 h 48"/>
                <a:gd name="T54" fmla="*/ 45 w 150"/>
                <a:gd name="T55" fmla="*/ 15 h 48"/>
                <a:gd name="T56" fmla="*/ 39 w 150"/>
                <a:gd name="T57" fmla="*/ 11 h 48"/>
                <a:gd name="T58" fmla="*/ 45 w 150"/>
                <a:gd name="T59" fmla="*/ 7 h 48"/>
                <a:gd name="T60" fmla="*/ 31 w 150"/>
                <a:gd name="T61" fmla="*/ 6 h 48"/>
                <a:gd name="T62" fmla="*/ 20 w 150"/>
                <a:gd name="T63" fmla="*/ 15 h 48"/>
                <a:gd name="T64" fmla="*/ 14 w 150"/>
                <a:gd name="T65" fmla="*/ 15 h 48"/>
                <a:gd name="T66" fmla="*/ 12 w 150"/>
                <a:gd name="T67" fmla="*/ 19 h 48"/>
                <a:gd name="T68" fmla="*/ 6 w 150"/>
                <a:gd name="T69" fmla="*/ 21 h 48"/>
                <a:gd name="T70" fmla="*/ 0 w 150"/>
                <a:gd name="T71" fmla="*/ 19 h 48"/>
                <a:gd name="T72" fmla="*/ 8 w 150"/>
                <a:gd name="T73" fmla="*/ 15 h 48"/>
                <a:gd name="T74" fmla="*/ 10 w 150"/>
                <a:gd name="T75" fmla="*/ 9 h 48"/>
                <a:gd name="T76" fmla="*/ 18 w 150"/>
                <a:gd name="T77" fmla="*/ 6 h 48"/>
                <a:gd name="T78" fmla="*/ 23 w 150"/>
                <a:gd name="T79" fmla="*/ 4 h 48"/>
                <a:gd name="T80" fmla="*/ 33 w 150"/>
                <a:gd name="T81" fmla="*/ 2 h 48"/>
                <a:gd name="T82" fmla="*/ 37 w 150"/>
                <a:gd name="T83"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50" h="48">
                  <a:moveTo>
                    <a:pt x="37" y="0"/>
                  </a:moveTo>
                  <a:lnTo>
                    <a:pt x="48" y="2"/>
                  </a:lnTo>
                  <a:lnTo>
                    <a:pt x="60" y="2"/>
                  </a:lnTo>
                  <a:lnTo>
                    <a:pt x="73" y="6"/>
                  </a:lnTo>
                  <a:lnTo>
                    <a:pt x="79" y="11"/>
                  </a:lnTo>
                  <a:lnTo>
                    <a:pt x="93" y="9"/>
                  </a:lnTo>
                  <a:lnTo>
                    <a:pt x="96" y="13"/>
                  </a:lnTo>
                  <a:lnTo>
                    <a:pt x="110" y="21"/>
                  </a:lnTo>
                  <a:lnTo>
                    <a:pt x="118" y="29"/>
                  </a:lnTo>
                  <a:lnTo>
                    <a:pt x="121" y="29"/>
                  </a:lnTo>
                  <a:lnTo>
                    <a:pt x="131" y="32"/>
                  </a:lnTo>
                  <a:lnTo>
                    <a:pt x="129" y="34"/>
                  </a:lnTo>
                  <a:lnTo>
                    <a:pt x="139" y="36"/>
                  </a:lnTo>
                  <a:lnTo>
                    <a:pt x="150" y="42"/>
                  </a:lnTo>
                  <a:lnTo>
                    <a:pt x="148" y="44"/>
                  </a:lnTo>
                  <a:lnTo>
                    <a:pt x="139" y="48"/>
                  </a:lnTo>
                  <a:lnTo>
                    <a:pt x="129" y="48"/>
                  </a:lnTo>
                  <a:lnTo>
                    <a:pt x="121" y="46"/>
                  </a:lnTo>
                  <a:lnTo>
                    <a:pt x="100" y="48"/>
                  </a:lnTo>
                  <a:lnTo>
                    <a:pt x="110" y="40"/>
                  </a:lnTo>
                  <a:lnTo>
                    <a:pt x="104" y="36"/>
                  </a:lnTo>
                  <a:lnTo>
                    <a:pt x="94" y="34"/>
                  </a:lnTo>
                  <a:lnTo>
                    <a:pt x="91" y="32"/>
                  </a:lnTo>
                  <a:lnTo>
                    <a:pt x="87" y="23"/>
                  </a:lnTo>
                  <a:lnTo>
                    <a:pt x="79" y="23"/>
                  </a:lnTo>
                  <a:lnTo>
                    <a:pt x="66" y="21"/>
                  </a:lnTo>
                  <a:lnTo>
                    <a:pt x="62" y="17"/>
                  </a:lnTo>
                  <a:lnTo>
                    <a:pt x="45" y="15"/>
                  </a:lnTo>
                  <a:lnTo>
                    <a:pt x="39" y="11"/>
                  </a:lnTo>
                  <a:lnTo>
                    <a:pt x="45" y="7"/>
                  </a:lnTo>
                  <a:lnTo>
                    <a:pt x="31" y="6"/>
                  </a:lnTo>
                  <a:lnTo>
                    <a:pt x="20" y="15"/>
                  </a:lnTo>
                  <a:lnTo>
                    <a:pt x="14" y="15"/>
                  </a:lnTo>
                  <a:lnTo>
                    <a:pt x="12" y="19"/>
                  </a:lnTo>
                  <a:lnTo>
                    <a:pt x="6" y="21"/>
                  </a:lnTo>
                  <a:lnTo>
                    <a:pt x="0" y="19"/>
                  </a:lnTo>
                  <a:lnTo>
                    <a:pt x="8" y="15"/>
                  </a:lnTo>
                  <a:lnTo>
                    <a:pt x="10" y="9"/>
                  </a:lnTo>
                  <a:lnTo>
                    <a:pt x="18" y="6"/>
                  </a:lnTo>
                  <a:lnTo>
                    <a:pt x="23" y="4"/>
                  </a:lnTo>
                  <a:lnTo>
                    <a:pt x="33" y="2"/>
                  </a:lnTo>
                  <a:lnTo>
                    <a:pt x="37" y="0"/>
                  </a:lnTo>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06" name="Freeform 113">
              <a:extLst>
                <a:ext uri="{FF2B5EF4-FFF2-40B4-BE49-F238E27FC236}">
                  <a16:creationId xmlns:a16="http://schemas.microsoft.com/office/drawing/2014/main" id="{F319C430-2BF5-A34B-8F84-7101F605D06A}"/>
                </a:ext>
              </a:extLst>
            </p:cNvPr>
            <p:cNvSpPr>
              <a:spLocks/>
            </p:cNvSpPr>
            <p:nvPr/>
          </p:nvSpPr>
          <p:spPr bwMode="auto">
            <a:xfrm>
              <a:off x="2633663" y="3931444"/>
              <a:ext cx="17463" cy="36530"/>
            </a:xfrm>
            <a:custGeom>
              <a:avLst/>
              <a:gdLst>
                <a:gd name="T0" fmla="*/ 3 w 11"/>
                <a:gd name="T1" fmla="*/ 0 h 23"/>
                <a:gd name="T2" fmla="*/ 7 w 11"/>
                <a:gd name="T3" fmla="*/ 2 h 23"/>
                <a:gd name="T4" fmla="*/ 11 w 11"/>
                <a:gd name="T5" fmla="*/ 13 h 23"/>
                <a:gd name="T6" fmla="*/ 11 w 11"/>
                <a:gd name="T7" fmla="*/ 23 h 23"/>
                <a:gd name="T8" fmla="*/ 7 w 11"/>
                <a:gd name="T9" fmla="*/ 23 h 23"/>
                <a:gd name="T10" fmla="*/ 3 w 11"/>
                <a:gd name="T11" fmla="*/ 13 h 23"/>
                <a:gd name="T12" fmla="*/ 0 w 11"/>
                <a:gd name="T13" fmla="*/ 12 h 23"/>
                <a:gd name="T14" fmla="*/ 3 w 11"/>
                <a:gd name="T15" fmla="*/ 0 h 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23">
                  <a:moveTo>
                    <a:pt x="3" y="0"/>
                  </a:moveTo>
                  <a:lnTo>
                    <a:pt x="7" y="2"/>
                  </a:lnTo>
                  <a:lnTo>
                    <a:pt x="11" y="13"/>
                  </a:lnTo>
                  <a:lnTo>
                    <a:pt x="11" y="23"/>
                  </a:lnTo>
                  <a:lnTo>
                    <a:pt x="7" y="23"/>
                  </a:lnTo>
                  <a:lnTo>
                    <a:pt x="3" y="13"/>
                  </a:lnTo>
                  <a:lnTo>
                    <a:pt x="0" y="12"/>
                  </a:lnTo>
                  <a:lnTo>
                    <a:pt x="3" y="0"/>
                  </a:lnTo>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07" name="Freeform 115">
              <a:extLst>
                <a:ext uri="{FF2B5EF4-FFF2-40B4-BE49-F238E27FC236}">
                  <a16:creationId xmlns:a16="http://schemas.microsoft.com/office/drawing/2014/main" id="{6F8C8917-1C72-A642-D1F2-C33715C60EFC}"/>
                </a:ext>
              </a:extLst>
            </p:cNvPr>
            <p:cNvSpPr>
              <a:spLocks/>
            </p:cNvSpPr>
            <p:nvPr/>
          </p:nvSpPr>
          <p:spPr bwMode="auto">
            <a:xfrm>
              <a:off x="7023100" y="3928268"/>
              <a:ext cx="42863" cy="82587"/>
            </a:xfrm>
            <a:custGeom>
              <a:avLst/>
              <a:gdLst>
                <a:gd name="T0" fmla="*/ 21 w 27"/>
                <a:gd name="T1" fmla="*/ 0 h 52"/>
                <a:gd name="T2" fmla="*/ 27 w 27"/>
                <a:gd name="T3" fmla="*/ 6 h 52"/>
                <a:gd name="T4" fmla="*/ 25 w 27"/>
                <a:gd name="T5" fmla="*/ 14 h 52"/>
                <a:gd name="T6" fmla="*/ 15 w 27"/>
                <a:gd name="T7" fmla="*/ 39 h 52"/>
                <a:gd name="T8" fmla="*/ 9 w 27"/>
                <a:gd name="T9" fmla="*/ 52 h 52"/>
                <a:gd name="T10" fmla="*/ 2 w 27"/>
                <a:gd name="T11" fmla="*/ 39 h 52"/>
                <a:gd name="T12" fmla="*/ 0 w 27"/>
                <a:gd name="T13" fmla="*/ 29 h 52"/>
                <a:gd name="T14" fmla="*/ 9 w 27"/>
                <a:gd name="T15" fmla="*/ 14 h 52"/>
                <a:gd name="T16" fmla="*/ 21 w 27"/>
                <a:gd name="T17"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7" h="52">
                  <a:moveTo>
                    <a:pt x="21" y="0"/>
                  </a:moveTo>
                  <a:lnTo>
                    <a:pt x="27" y="6"/>
                  </a:lnTo>
                  <a:lnTo>
                    <a:pt x="25" y="14"/>
                  </a:lnTo>
                  <a:lnTo>
                    <a:pt x="15" y="39"/>
                  </a:lnTo>
                  <a:lnTo>
                    <a:pt x="9" y="52"/>
                  </a:lnTo>
                  <a:lnTo>
                    <a:pt x="2" y="39"/>
                  </a:lnTo>
                  <a:lnTo>
                    <a:pt x="0" y="29"/>
                  </a:lnTo>
                  <a:lnTo>
                    <a:pt x="9" y="14"/>
                  </a:lnTo>
                  <a:lnTo>
                    <a:pt x="21" y="0"/>
                  </a:lnTo>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08" name="Freeform 117">
              <a:extLst>
                <a:ext uri="{FF2B5EF4-FFF2-40B4-BE49-F238E27FC236}">
                  <a16:creationId xmlns:a16="http://schemas.microsoft.com/office/drawing/2014/main" id="{9BDDA3F7-B450-8510-505E-0EEF7026E7F3}"/>
                </a:ext>
              </a:extLst>
            </p:cNvPr>
            <p:cNvSpPr>
              <a:spLocks/>
            </p:cNvSpPr>
            <p:nvPr/>
          </p:nvSpPr>
          <p:spPr bwMode="auto">
            <a:xfrm>
              <a:off x="5608638" y="3907621"/>
              <a:ext cx="9525" cy="14294"/>
            </a:xfrm>
            <a:custGeom>
              <a:avLst/>
              <a:gdLst>
                <a:gd name="T0" fmla="*/ 4 w 6"/>
                <a:gd name="T1" fmla="*/ 0 h 9"/>
                <a:gd name="T2" fmla="*/ 6 w 6"/>
                <a:gd name="T3" fmla="*/ 0 h 9"/>
                <a:gd name="T4" fmla="*/ 4 w 6"/>
                <a:gd name="T5" fmla="*/ 5 h 9"/>
                <a:gd name="T6" fmla="*/ 2 w 6"/>
                <a:gd name="T7" fmla="*/ 9 h 9"/>
                <a:gd name="T8" fmla="*/ 0 w 6"/>
                <a:gd name="T9" fmla="*/ 4 h 9"/>
                <a:gd name="T10" fmla="*/ 4 w 6"/>
                <a:gd name="T11" fmla="*/ 0 h 9"/>
              </a:gdLst>
              <a:ahLst/>
              <a:cxnLst>
                <a:cxn ang="0">
                  <a:pos x="T0" y="T1"/>
                </a:cxn>
                <a:cxn ang="0">
                  <a:pos x="T2" y="T3"/>
                </a:cxn>
                <a:cxn ang="0">
                  <a:pos x="T4" y="T5"/>
                </a:cxn>
                <a:cxn ang="0">
                  <a:pos x="T6" y="T7"/>
                </a:cxn>
                <a:cxn ang="0">
                  <a:pos x="T8" y="T9"/>
                </a:cxn>
                <a:cxn ang="0">
                  <a:pos x="T10" y="T11"/>
                </a:cxn>
              </a:cxnLst>
              <a:rect l="0" t="0" r="r" b="b"/>
              <a:pathLst>
                <a:path w="6" h="9">
                  <a:moveTo>
                    <a:pt x="4" y="0"/>
                  </a:moveTo>
                  <a:lnTo>
                    <a:pt x="6" y="0"/>
                  </a:lnTo>
                  <a:lnTo>
                    <a:pt x="4" y="5"/>
                  </a:lnTo>
                  <a:lnTo>
                    <a:pt x="2" y="9"/>
                  </a:lnTo>
                  <a:lnTo>
                    <a:pt x="0" y="4"/>
                  </a:lnTo>
                  <a:lnTo>
                    <a:pt x="4" y="0"/>
                  </a:lnTo>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09" name="Freeform 119">
              <a:extLst>
                <a:ext uri="{FF2B5EF4-FFF2-40B4-BE49-F238E27FC236}">
                  <a16:creationId xmlns:a16="http://schemas.microsoft.com/office/drawing/2014/main" id="{C903589E-7F46-B93A-CC0D-B24DC4C72CAE}"/>
                </a:ext>
              </a:extLst>
            </p:cNvPr>
            <p:cNvSpPr>
              <a:spLocks/>
            </p:cNvSpPr>
            <p:nvPr/>
          </p:nvSpPr>
          <p:spPr bwMode="auto">
            <a:xfrm>
              <a:off x="2620963" y="3891738"/>
              <a:ext cx="23813" cy="12706"/>
            </a:xfrm>
            <a:custGeom>
              <a:avLst/>
              <a:gdLst>
                <a:gd name="T0" fmla="*/ 6 w 15"/>
                <a:gd name="T1" fmla="*/ 0 h 8"/>
                <a:gd name="T2" fmla="*/ 15 w 15"/>
                <a:gd name="T3" fmla="*/ 2 h 8"/>
                <a:gd name="T4" fmla="*/ 15 w 15"/>
                <a:gd name="T5" fmla="*/ 6 h 8"/>
                <a:gd name="T6" fmla="*/ 2 w 15"/>
                <a:gd name="T7" fmla="*/ 8 h 8"/>
                <a:gd name="T8" fmla="*/ 0 w 15"/>
                <a:gd name="T9" fmla="*/ 2 h 8"/>
                <a:gd name="T10" fmla="*/ 6 w 15"/>
                <a:gd name="T11" fmla="*/ 0 h 8"/>
              </a:gdLst>
              <a:ahLst/>
              <a:cxnLst>
                <a:cxn ang="0">
                  <a:pos x="T0" y="T1"/>
                </a:cxn>
                <a:cxn ang="0">
                  <a:pos x="T2" y="T3"/>
                </a:cxn>
                <a:cxn ang="0">
                  <a:pos x="T4" y="T5"/>
                </a:cxn>
                <a:cxn ang="0">
                  <a:pos x="T6" y="T7"/>
                </a:cxn>
                <a:cxn ang="0">
                  <a:pos x="T8" y="T9"/>
                </a:cxn>
                <a:cxn ang="0">
                  <a:pos x="T10" y="T11"/>
                </a:cxn>
              </a:cxnLst>
              <a:rect l="0" t="0" r="r" b="b"/>
              <a:pathLst>
                <a:path w="15" h="8">
                  <a:moveTo>
                    <a:pt x="6" y="0"/>
                  </a:moveTo>
                  <a:lnTo>
                    <a:pt x="15" y="2"/>
                  </a:lnTo>
                  <a:lnTo>
                    <a:pt x="15" y="6"/>
                  </a:lnTo>
                  <a:lnTo>
                    <a:pt x="2" y="8"/>
                  </a:lnTo>
                  <a:lnTo>
                    <a:pt x="0" y="2"/>
                  </a:lnTo>
                  <a:lnTo>
                    <a:pt x="6" y="0"/>
                  </a:lnTo>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10" name="Freeform 121">
              <a:extLst>
                <a:ext uri="{FF2B5EF4-FFF2-40B4-BE49-F238E27FC236}">
                  <a16:creationId xmlns:a16="http://schemas.microsoft.com/office/drawing/2014/main" id="{35F46E6F-9119-E038-D478-009BBC76F680}"/>
                </a:ext>
              </a:extLst>
            </p:cNvPr>
            <p:cNvSpPr>
              <a:spLocks/>
            </p:cNvSpPr>
            <p:nvPr/>
          </p:nvSpPr>
          <p:spPr bwMode="auto">
            <a:xfrm>
              <a:off x="2644776" y="3888562"/>
              <a:ext cx="22225" cy="27000"/>
            </a:xfrm>
            <a:custGeom>
              <a:avLst/>
              <a:gdLst>
                <a:gd name="T0" fmla="*/ 0 w 14"/>
                <a:gd name="T1" fmla="*/ 0 h 17"/>
                <a:gd name="T2" fmla="*/ 14 w 14"/>
                <a:gd name="T3" fmla="*/ 8 h 17"/>
                <a:gd name="T4" fmla="*/ 10 w 14"/>
                <a:gd name="T5" fmla="*/ 17 h 17"/>
                <a:gd name="T6" fmla="*/ 8 w 14"/>
                <a:gd name="T7" fmla="*/ 16 h 17"/>
                <a:gd name="T8" fmla="*/ 8 w 14"/>
                <a:gd name="T9" fmla="*/ 8 h 17"/>
                <a:gd name="T10" fmla="*/ 0 w 14"/>
                <a:gd name="T11" fmla="*/ 2 h 17"/>
                <a:gd name="T12" fmla="*/ 0 w 14"/>
                <a:gd name="T13" fmla="*/ 0 h 17"/>
              </a:gdLst>
              <a:ahLst/>
              <a:cxnLst>
                <a:cxn ang="0">
                  <a:pos x="T0" y="T1"/>
                </a:cxn>
                <a:cxn ang="0">
                  <a:pos x="T2" y="T3"/>
                </a:cxn>
                <a:cxn ang="0">
                  <a:pos x="T4" y="T5"/>
                </a:cxn>
                <a:cxn ang="0">
                  <a:pos x="T6" y="T7"/>
                </a:cxn>
                <a:cxn ang="0">
                  <a:pos x="T8" y="T9"/>
                </a:cxn>
                <a:cxn ang="0">
                  <a:pos x="T10" y="T11"/>
                </a:cxn>
                <a:cxn ang="0">
                  <a:pos x="T12" y="T13"/>
                </a:cxn>
              </a:cxnLst>
              <a:rect l="0" t="0" r="r" b="b"/>
              <a:pathLst>
                <a:path w="14" h="17">
                  <a:moveTo>
                    <a:pt x="0" y="0"/>
                  </a:moveTo>
                  <a:lnTo>
                    <a:pt x="14" y="8"/>
                  </a:lnTo>
                  <a:lnTo>
                    <a:pt x="10" y="17"/>
                  </a:lnTo>
                  <a:lnTo>
                    <a:pt x="8" y="16"/>
                  </a:lnTo>
                  <a:lnTo>
                    <a:pt x="8" y="8"/>
                  </a:lnTo>
                  <a:lnTo>
                    <a:pt x="0" y="2"/>
                  </a:lnTo>
                  <a:lnTo>
                    <a:pt x="0" y="0"/>
                  </a:lnTo>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11" name="Freeform 123">
              <a:extLst>
                <a:ext uri="{FF2B5EF4-FFF2-40B4-BE49-F238E27FC236}">
                  <a16:creationId xmlns:a16="http://schemas.microsoft.com/office/drawing/2014/main" id="{904FFF9E-A2A9-395F-01CF-5CEB88095AEF}"/>
                </a:ext>
              </a:extLst>
            </p:cNvPr>
            <p:cNvSpPr>
              <a:spLocks/>
            </p:cNvSpPr>
            <p:nvPr/>
          </p:nvSpPr>
          <p:spPr bwMode="auto">
            <a:xfrm>
              <a:off x="7292975" y="3712270"/>
              <a:ext cx="55563" cy="39706"/>
            </a:xfrm>
            <a:custGeom>
              <a:avLst/>
              <a:gdLst>
                <a:gd name="T0" fmla="*/ 22 w 35"/>
                <a:gd name="T1" fmla="*/ 0 h 25"/>
                <a:gd name="T2" fmla="*/ 33 w 35"/>
                <a:gd name="T3" fmla="*/ 4 h 25"/>
                <a:gd name="T4" fmla="*/ 35 w 35"/>
                <a:gd name="T5" fmla="*/ 8 h 25"/>
                <a:gd name="T6" fmla="*/ 27 w 35"/>
                <a:gd name="T7" fmla="*/ 19 h 25"/>
                <a:gd name="T8" fmla="*/ 20 w 35"/>
                <a:gd name="T9" fmla="*/ 13 h 25"/>
                <a:gd name="T10" fmla="*/ 14 w 35"/>
                <a:gd name="T11" fmla="*/ 17 h 25"/>
                <a:gd name="T12" fmla="*/ 10 w 35"/>
                <a:gd name="T13" fmla="*/ 25 h 25"/>
                <a:gd name="T14" fmla="*/ 0 w 35"/>
                <a:gd name="T15" fmla="*/ 23 h 25"/>
                <a:gd name="T16" fmla="*/ 0 w 35"/>
                <a:gd name="T17" fmla="*/ 13 h 25"/>
                <a:gd name="T18" fmla="*/ 10 w 35"/>
                <a:gd name="T19" fmla="*/ 6 h 25"/>
                <a:gd name="T20" fmla="*/ 18 w 35"/>
                <a:gd name="T21" fmla="*/ 6 h 25"/>
                <a:gd name="T22" fmla="*/ 22 w 35"/>
                <a:gd name="T23" fmla="*/ 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5" h="25">
                  <a:moveTo>
                    <a:pt x="22" y="0"/>
                  </a:moveTo>
                  <a:lnTo>
                    <a:pt x="33" y="4"/>
                  </a:lnTo>
                  <a:lnTo>
                    <a:pt x="35" y="8"/>
                  </a:lnTo>
                  <a:lnTo>
                    <a:pt x="27" y="19"/>
                  </a:lnTo>
                  <a:lnTo>
                    <a:pt x="20" y="13"/>
                  </a:lnTo>
                  <a:lnTo>
                    <a:pt x="14" y="17"/>
                  </a:lnTo>
                  <a:lnTo>
                    <a:pt x="10" y="25"/>
                  </a:lnTo>
                  <a:lnTo>
                    <a:pt x="0" y="23"/>
                  </a:lnTo>
                  <a:lnTo>
                    <a:pt x="0" y="13"/>
                  </a:lnTo>
                  <a:lnTo>
                    <a:pt x="10" y="6"/>
                  </a:lnTo>
                  <a:lnTo>
                    <a:pt x="18" y="6"/>
                  </a:lnTo>
                  <a:lnTo>
                    <a:pt x="22" y="0"/>
                  </a:lnTo>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12" name="Freeform 125">
              <a:extLst>
                <a:ext uri="{FF2B5EF4-FFF2-40B4-BE49-F238E27FC236}">
                  <a16:creationId xmlns:a16="http://schemas.microsoft.com/office/drawing/2014/main" id="{600E3CC6-0B71-5486-2512-206D5B89B287}"/>
                </a:ext>
              </a:extLst>
            </p:cNvPr>
            <p:cNvSpPr>
              <a:spLocks/>
            </p:cNvSpPr>
            <p:nvPr/>
          </p:nvSpPr>
          <p:spPr bwMode="auto">
            <a:xfrm>
              <a:off x="5078413" y="3678917"/>
              <a:ext cx="52388" cy="27000"/>
            </a:xfrm>
            <a:custGeom>
              <a:avLst/>
              <a:gdLst>
                <a:gd name="T0" fmla="*/ 33 w 33"/>
                <a:gd name="T1" fmla="*/ 0 h 17"/>
                <a:gd name="T2" fmla="*/ 24 w 33"/>
                <a:gd name="T3" fmla="*/ 7 h 17"/>
                <a:gd name="T4" fmla="*/ 25 w 33"/>
                <a:gd name="T5" fmla="*/ 9 h 17"/>
                <a:gd name="T6" fmla="*/ 25 w 33"/>
                <a:gd name="T7" fmla="*/ 11 h 17"/>
                <a:gd name="T8" fmla="*/ 10 w 33"/>
                <a:gd name="T9" fmla="*/ 17 h 17"/>
                <a:gd name="T10" fmla="*/ 4 w 33"/>
                <a:gd name="T11" fmla="*/ 15 h 17"/>
                <a:gd name="T12" fmla="*/ 0 w 33"/>
                <a:gd name="T13" fmla="*/ 9 h 17"/>
                <a:gd name="T14" fmla="*/ 8 w 33"/>
                <a:gd name="T15" fmla="*/ 9 h 17"/>
                <a:gd name="T16" fmla="*/ 10 w 33"/>
                <a:gd name="T17" fmla="*/ 9 h 17"/>
                <a:gd name="T18" fmla="*/ 14 w 33"/>
                <a:gd name="T19" fmla="*/ 7 h 17"/>
                <a:gd name="T20" fmla="*/ 10 w 33"/>
                <a:gd name="T21" fmla="*/ 9 h 17"/>
                <a:gd name="T22" fmla="*/ 8 w 33"/>
                <a:gd name="T23" fmla="*/ 9 h 17"/>
                <a:gd name="T24" fmla="*/ 10 w 33"/>
                <a:gd name="T25" fmla="*/ 7 h 17"/>
                <a:gd name="T26" fmla="*/ 10 w 33"/>
                <a:gd name="T27" fmla="*/ 6 h 17"/>
                <a:gd name="T28" fmla="*/ 20 w 33"/>
                <a:gd name="T29" fmla="*/ 6 h 17"/>
                <a:gd name="T30" fmla="*/ 33 w 33"/>
                <a:gd name="T31"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3" h="17">
                  <a:moveTo>
                    <a:pt x="33" y="0"/>
                  </a:moveTo>
                  <a:lnTo>
                    <a:pt x="24" y="7"/>
                  </a:lnTo>
                  <a:lnTo>
                    <a:pt x="25" y="9"/>
                  </a:lnTo>
                  <a:lnTo>
                    <a:pt x="25" y="11"/>
                  </a:lnTo>
                  <a:lnTo>
                    <a:pt x="10" y="17"/>
                  </a:lnTo>
                  <a:lnTo>
                    <a:pt x="4" y="15"/>
                  </a:lnTo>
                  <a:lnTo>
                    <a:pt x="0" y="9"/>
                  </a:lnTo>
                  <a:lnTo>
                    <a:pt x="8" y="9"/>
                  </a:lnTo>
                  <a:lnTo>
                    <a:pt x="10" y="9"/>
                  </a:lnTo>
                  <a:lnTo>
                    <a:pt x="14" y="7"/>
                  </a:lnTo>
                  <a:lnTo>
                    <a:pt x="10" y="9"/>
                  </a:lnTo>
                  <a:lnTo>
                    <a:pt x="8" y="9"/>
                  </a:lnTo>
                  <a:lnTo>
                    <a:pt x="10" y="7"/>
                  </a:lnTo>
                  <a:lnTo>
                    <a:pt x="10" y="6"/>
                  </a:lnTo>
                  <a:lnTo>
                    <a:pt x="20" y="6"/>
                  </a:lnTo>
                  <a:lnTo>
                    <a:pt x="33" y="0"/>
                  </a:lnTo>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13" name="Freeform 127">
              <a:extLst>
                <a:ext uri="{FF2B5EF4-FFF2-40B4-BE49-F238E27FC236}">
                  <a16:creationId xmlns:a16="http://schemas.microsoft.com/office/drawing/2014/main" id="{46454E33-5A2A-76FC-6BF5-AA50F14A6E07}"/>
                </a:ext>
              </a:extLst>
            </p:cNvPr>
            <p:cNvSpPr>
              <a:spLocks/>
            </p:cNvSpPr>
            <p:nvPr/>
          </p:nvSpPr>
          <p:spPr bwMode="auto">
            <a:xfrm>
              <a:off x="4887913" y="3678917"/>
              <a:ext cx="60325" cy="20647"/>
            </a:xfrm>
            <a:custGeom>
              <a:avLst/>
              <a:gdLst>
                <a:gd name="T0" fmla="*/ 2 w 38"/>
                <a:gd name="T1" fmla="*/ 0 h 13"/>
                <a:gd name="T2" fmla="*/ 9 w 38"/>
                <a:gd name="T3" fmla="*/ 6 h 13"/>
                <a:gd name="T4" fmla="*/ 21 w 38"/>
                <a:gd name="T5" fmla="*/ 6 h 13"/>
                <a:gd name="T6" fmla="*/ 30 w 38"/>
                <a:gd name="T7" fmla="*/ 6 h 13"/>
                <a:gd name="T8" fmla="*/ 30 w 38"/>
                <a:gd name="T9" fmla="*/ 7 h 13"/>
                <a:gd name="T10" fmla="*/ 38 w 38"/>
                <a:gd name="T11" fmla="*/ 6 h 13"/>
                <a:gd name="T12" fmla="*/ 36 w 38"/>
                <a:gd name="T13" fmla="*/ 11 h 13"/>
                <a:gd name="T14" fmla="*/ 17 w 38"/>
                <a:gd name="T15" fmla="*/ 13 h 13"/>
                <a:gd name="T16" fmla="*/ 17 w 38"/>
                <a:gd name="T17" fmla="*/ 9 h 13"/>
                <a:gd name="T18" fmla="*/ 0 w 38"/>
                <a:gd name="T19" fmla="*/ 6 h 13"/>
                <a:gd name="T20" fmla="*/ 2 w 38"/>
                <a:gd name="T21"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8" h="13">
                  <a:moveTo>
                    <a:pt x="2" y="0"/>
                  </a:moveTo>
                  <a:lnTo>
                    <a:pt x="9" y="6"/>
                  </a:lnTo>
                  <a:lnTo>
                    <a:pt x="21" y="6"/>
                  </a:lnTo>
                  <a:lnTo>
                    <a:pt x="30" y="6"/>
                  </a:lnTo>
                  <a:lnTo>
                    <a:pt x="30" y="7"/>
                  </a:lnTo>
                  <a:lnTo>
                    <a:pt x="38" y="6"/>
                  </a:lnTo>
                  <a:lnTo>
                    <a:pt x="36" y="11"/>
                  </a:lnTo>
                  <a:lnTo>
                    <a:pt x="17" y="13"/>
                  </a:lnTo>
                  <a:lnTo>
                    <a:pt x="17" y="9"/>
                  </a:lnTo>
                  <a:lnTo>
                    <a:pt x="0" y="6"/>
                  </a:lnTo>
                  <a:lnTo>
                    <a:pt x="2" y="0"/>
                  </a:lnTo>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14" name="Freeform 129">
              <a:extLst>
                <a:ext uri="{FF2B5EF4-FFF2-40B4-BE49-F238E27FC236}">
                  <a16:creationId xmlns:a16="http://schemas.microsoft.com/office/drawing/2014/main" id="{C854CC72-24E0-8390-3064-3B897608B580}"/>
                </a:ext>
              </a:extLst>
            </p:cNvPr>
            <p:cNvSpPr>
              <a:spLocks/>
            </p:cNvSpPr>
            <p:nvPr/>
          </p:nvSpPr>
          <p:spPr bwMode="auto">
            <a:xfrm>
              <a:off x="4640263" y="3613801"/>
              <a:ext cx="69850" cy="39706"/>
            </a:xfrm>
            <a:custGeom>
              <a:avLst/>
              <a:gdLst>
                <a:gd name="T0" fmla="*/ 44 w 44"/>
                <a:gd name="T1" fmla="*/ 0 h 25"/>
                <a:gd name="T2" fmla="*/ 39 w 44"/>
                <a:gd name="T3" fmla="*/ 14 h 25"/>
                <a:gd name="T4" fmla="*/ 40 w 44"/>
                <a:gd name="T5" fmla="*/ 18 h 25"/>
                <a:gd name="T6" fmla="*/ 39 w 44"/>
                <a:gd name="T7" fmla="*/ 25 h 25"/>
                <a:gd name="T8" fmla="*/ 27 w 44"/>
                <a:gd name="T9" fmla="*/ 20 h 25"/>
                <a:gd name="T10" fmla="*/ 19 w 44"/>
                <a:gd name="T11" fmla="*/ 18 h 25"/>
                <a:gd name="T12" fmla="*/ 0 w 44"/>
                <a:gd name="T13" fmla="*/ 10 h 25"/>
                <a:gd name="T14" fmla="*/ 4 w 44"/>
                <a:gd name="T15" fmla="*/ 2 h 25"/>
                <a:gd name="T16" fmla="*/ 19 w 44"/>
                <a:gd name="T17" fmla="*/ 4 h 25"/>
                <a:gd name="T18" fmla="*/ 35 w 44"/>
                <a:gd name="T19" fmla="*/ 2 h 25"/>
                <a:gd name="T20" fmla="*/ 44 w 44"/>
                <a:gd name="T21" fmla="*/ 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4" h="25">
                  <a:moveTo>
                    <a:pt x="44" y="0"/>
                  </a:moveTo>
                  <a:lnTo>
                    <a:pt x="39" y="14"/>
                  </a:lnTo>
                  <a:lnTo>
                    <a:pt x="40" y="18"/>
                  </a:lnTo>
                  <a:lnTo>
                    <a:pt x="39" y="25"/>
                  </a:lnTo>
                  <a:lnTo>
                    <a:pt x="27" y="20"/>
                  </a:lnTo>
                  <a:lnTo>
                    <a:pt x="19" y="18"/>
                  </a:lnTo>
                  <a:lnTo>
                    <a:pt x="0" y="10"/>
                  </a:lnTo>
                  <a:lnTo>
                    <a:pt x="4" y="2"/>
                  </a:lnTo>
                  <a:lnTo>
                    <a:pt x="19" y="4"/>
                  </a:lnTo>
                  <a:lnTo>
                    <a:pt x="35" y="2"/>
                  </a:lnTo>
                  <a:lnTo>
                    <a:pt x="44" y="0"/>
                  </a:lnTo>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15" name="Freeform 131">
              <a:extLst>
                <a:ext uri="{FF2B5EF4-FFF2-40B4-BE49-F238E27FC236}">
                  <a16:creationId xmlns:a16="http://schemas.microsoft.com/office/drawing/2014/main" id="{8FA6F671-B494-F8ED-1FBF-7C84BEA6D4D6}"/>
                </a:ext>
              </a:extLst>
            </p:cNvPr>
            <p:cNvSpPr>
              <a:spLocks/>
            </p:cNvSpPr>
            <p:nvPr/>
          </p:nvSpPr>
          <p:spPr bwMode="auto">
            <a:xfrm>
              <a:off x="4549776" y="3537566"/>
              <a:ext cx="36513" cy="58765"/>
            </a:xfrm>
            <a:custGeom>
              <a:avLst/>
              <a:gdLst>
                <a:gd name="T0" fmla="*/ 13 w 23"/>
                <a:gd name="T1" fmla="*/ 0 h 37"/>
                <a:gd name="T2" fmla="*/ 23 w 23"/>
                <a:gd name="T3" fmla="*/ 12 h 37"/>
                <a:gd name="T4" fmla="*/ 19 w 23"/>
                <a:gd name="T5" fmla="*/ 33 h 37"/>
                <a:gd name="T6" fmla="*/ 13 w 23"/>
                <a:gd name="T7" fmla="*/ 31 h 37"/>
                <a:gd name="T8" fmla="*/ 7 w 23"/>
                <a:gd name="T9" fmla="*/ 37 h 37"/>
                <a:gd name="T10" fmla="*/ 2 w 23"/>
                <a:gd name="T11" fmla="*/ 33 h 37"/>
                <a:gd name="T12" fmla="*/ 2 w 23"/>
                <a:gd name="T13" fmla="*/ 12 h 37"/>
                <a:gd name="T14" fmla="*/ 0 w 23"/>
                <a:gd name="T15" fmla="*/ 2 h 37"/>
                <a:gd name="T16" fmla="*/ 5 w 23"/>
                <a:gd name="T17" fmla="*/ 4 h 37"/>
                <a:gd name="T18" fmla="*/ 13 w 23"/>
                <a:gd name="T19" fmla="*/ 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 h="37">
                  <a:moveTo>
                    <a:pt x="13" y="0"/>
                  </a:moveTo>
                  <a:lnTo>
                    <a:pt x="23" y="12"/>
                  </a:lnTo>
                  <a:lnTo>
                    <a:pt x="19" y="33"/>
                  </a:lnTo>
                  <a:lnTo>
                    <a:pt x="13" y="31"/>
                  </a:lnTo>
                  <a:lnTo>
                    <a:pt x="7" y="37"/>
                  </a:lnTo>
                  <a:lnTo>
                    <a:pt x="2" y="33"/>
                  </a:lnTo>
                  <a:lnTo>
                    <a:pt x="2" y="12"/>
                  </a:lnTo>
                  <a:lnTo>
                    <a:pt x="0" y="2"/>
                  </a:lnTo>
                  <a:lnTo>
                    <a:pt x="5" y="4"/>
                  </a:lnTo>
                  <a:lnTo>
                    <a:pt x="13" y="0"/>
                  </a:lnTo>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16" name="Freeform 133">
              <a:extLst>
                <a:ext uri="{FF2B5EF4-FFF2-40B4-BE49-F238E27FC236}">
                  <a16:creationId xmlns:a16="http://schemas.microsoft.com/office/drawing/2014/main" id="{695FCA90-5B05-2285-274F-8FCE7EA4A224}"/>
                </a:ext>
              </a:extLst>
            </p:cNvPr>
            <p:cNvSpPr>
              <a:spLocks/>
            </p:cNvSpPr>
            <p:nvPr/>
          </p:nvSpPr>
          <p:spPr bwMode="auto">
            <a:xfrm>
              <a:off x="7229475" y="3532801"/>
              <a:ext cx="277813" cy="262056"/>
            </a:xfrm>
            <a:custGeom>
              <a:avLst/>
              <a:gdLst>
                <a:gd name="T0" fmla="*/ 165 w 175"/>
                <a:gd name="T1" fmla="*/ 0 h 165"/>
                <a:gd name="T2" fmla="*/ 175 w 175"/>
                <a:gd name="T3" fmla="*/ 23 h 165"/>
                <a:gd name="T4" fmla="*/ 175 w 175"/>
                <a:gd name="T5" fmla="*/ 36 h 165"/>
                <a:gd name="T6" fmla="*/ 161 w 175"/>
                <a:gd name="T7" fmla="*/ 53 h 165"/>
                <a:gd name="T8" fmla="*/ 161 w 175"/>
                <a:gd name="T9" fmla="*/ 59 h 165"/>
                <a:gd name="T10" fmla="*/ 161 w 175"/>
                <a:gd name="T11" fmla="*/ 69 h 165"/>
                <a:gd name="T12" fmla="*/ 156 w 175"/>
                <a:gd name="T13" fmla="*/ 80 h 165"/>
                <a:gd name="T14" fmla="*/ 158 w 175"/>
                <a:gd name="T15" fmla="*/ 90 h 165"/>
                <a:gd name="T16" fmla="*/ 152 w 175"/>
                <a:gd name="T17" fmla="*/ 101 h 165"/>
                <a:gd name="T18" fmla="*/ 133 w 175"/>
                <a:gd name="T19" fmla="*/ 107 h 165"/>
                <a:gd name="T20" fmla="*/ 110 w 175"/>
                <a:gd name="T21" fmla="*/ 109 h 165"/>
                <a:gd name="T22" fmla="*/ 88 w 175"/>
                <a:gd name="T23" fmla="*/ 126 h 165"/>
                <a:gd name="T24" fmla="*/ 79 w 175"/>
                <a:gd name="T25" fmla="*/ 121 h 165"/>
                <a:gd name="T26" fmla="*/ 79 w 175"/>
                <a:gd name="T27" fmla="*/ 109 h 165"/>
                <a:gd name="T28" fmla="*/ 54 w 175"/>
                <a:gd name="T29" fmla="*/ 113 h 165"/>
                <a:gd name="T30" fmla="*/ 39 w 175"/>
                <a:gd name="T31" fmla="*/ 119 h 165"/>
                <a:gd name="T32" fmla="*/ 21 w 175"/>
                <a:gd name="T33" fmla="*/ 119 h 165"/>
                <a:gd name="T34" fmla="*/ 37 w 175"/>
                <a:gd name="T35" fmla="*/ 132 h 165"/>
                <a:gd name="T36" fmla="*/ 27 w 175"/>
                <a:gd name="T37" fmla="*/ 159 h 165"/>
                <a:gd name="T38" fmla="*/ 17 w 175"/>
                <a:gd name="T39" fmla="*/ 165 h 165"/>
                <a:gd name="T40" fmla="*/ 12 w 175"/>
                <a:gd name="T41" fmla="*/ 159 h 165"/>
                <a:gd name="T42" fmla="*/ 14 w 175"/>
                <a:gd name="T43" fmla="*/ 145 h 165"/>
                <a:gd name="T44" fmla="*/ 6 w 175"/>
                <a:gd name="T45" fmla="*/ 140 h 165"/>
                <a:gd name="T46" fmla="*/ 0 w 175"/>
                <a:gd name="T47" fmla="*/ 130 h 165"/>
                <a:gd name="T48" fmla="*/ 14 w 175"/>
                <a:gd name="T49" fmla="*/ 124 h 165"/>
                <a:gd name="T50" fmla="*/ 21 w 175"/>
                <a:gd name="T51" fmla="*/ 115 h 165"/>
                <a:gd name="T52" fmla="*/ 35 w 175"/>
                <a:gd name="T53" fmla="*/ 107 h 165"/>
                <a:gd name="T54" fmla="*/ 44 w 175"/>
                <a:gd name="T55" fmla="*/ 98 h 165"/>
                <a:gd name="T56" fmla="*/ 73 w 175"/>
                <a:gd name="T57" fmla="*/ 92 h 165"/>
                <a:gd name="T58" fmla="*/ 88 w 175"/>
                <a:gd name="T59" fmla="*/ 96 h 165"/>
                <a:gd name="T60" fmla="*/ 102 w 175"/>
                <a:gd name="T61" fmla="*/ 67 h 165"/>
                <a:gd name="T62" fmla="*/ 111 w 175"/>
                <a:gd name="T63" fmla="*/ 73 h 165"/>
                <a:gd name="T64" fmla="*/ 131 w 175"/>
                <a:gd name="T65" fmla="*/ 57 h 165"/>
                <a:gd name="T66" fmla="*/ 140 w 175"/>
                <a:gd name="T67" fmla="*/ 51 h 165"/>
                <a:gd name="T68" fmla="*/ 148 w 175"/>
                <a:gd name="T69" fmla="*/ 32 h 165"/>
                <a:gd name="T70" fmla="*/ 146 w 175"/>
                <a:gd name="T71" fmla="*/ 13 h 165"/>
                <a:gd name="T72" fmla="*/ 152 w 175"/>
                <a:gd name="T73" fmla="*/ 3 h 165"/>
                <a:gd name="T74" fmla="*/ 165 w 175"/>
                <a:gd name="T75" fmla="*/ 0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75" h="165">
                  <a:moveTo>
                    <a:pt x="165" y="0"/>
                  </a:moveTo>
                  <a:lnTo>
                    <a:pt x="175" y="23"/>
                  </a:lnTo>
                  <a:lnTo>
                    <a:pt x="175" y="36"/>
                  </a:lnTo>
                  <a:lnTo>
                    <a:pt x="161" y="53"/>
                  </a:lnTo>
                  <a:lnTo>
                    <a:pt x="161" y="59"/>
                  </a:lnTo>
                  <a:lnTo>
                    <a:pt x="161" y="69"/>
                  </a:lnTo>
                  <a:lnTo>
                    <a:pt x="156" y="80"/>
                  </a:lnTo>
                  <a:lnTo>
                    <a:pt x="158" y="90"/>
                  </a:lnTo>
                  <a:lnTo>
                    <a:pt x="152" y="101"/>
                  </a:lnTo>
                  <a:lnTo>
                    <a:pt x="133" y="107"/>
                  </a:lnTo>
                  <a:lnTo>
                    <a:pt x="110" y="109"/>
                  </a:lnTo>
                  <a:lnTo>
                    <a:pt x="88" y="126"/>
                  </a:lnTo>
                  <a:lnTo>
                    <a:pt x="79" y="121"/>
                  </a:lnTo>
                  <a:lnTo>
                    <a:pt x="79" y="109"/>
                  </a:lnTo>
                  <a:lnTo>
                    <a:pt x="54" y="113"/>
                  </a:lnTo>
                  <a:lnTo>
                    <a:pt x="39" y="119"/>
                  </a:lnTo>
                  <a:lnTo>
                    <a:pt x="21" y="119"/>
                  </a:lnTo>
                  <a:lnTo>
                    <a:pt x="37" y="132"/>
                  </a:lnTo>
                  <a:lnTo>
                    <a:pt x="27" y="159"/>
                  </a:lnTo>
                  <a:lnTo>
                    <a:pt x="17" y="165"/>
                  </a:lnTo>
                  <a:lnTo>
                    <a:pt x="12" y="159"/>
                  </a:lnTo>
                  <a:lnTo>
                    <a:pt x="14" y="145"/>
                  </a:lnTo>
                  <a:lnTo>
                    <a:pt x="6" y="140"/>
                  </a:lnTo>
                  <a:lnTo>
                    <a:pt x="0" y="130"/>
                  </a:lnTo>
                  <a:lnTo>
                    <a:pt x="14" y="124"/>
                  </a:lnTo>
                  <a:lnTo>
                    <a:pt x="21" y="115"/>
                  </a:lnTo>
                  <a:lnTo>
                    <a:pt x="35" y="107"/>
                  </a:lnTo>
                  <a:lnTo>
                    <a:pt x="44" y="98"/>
                  </a:lnTo>
                  <a:lnTo>
                    <a:pt x="73" y="92"/>
                  </a:lnTo>
                  <a:lnTo>
                    <a:pt x="88" y="96"/>
                  </a:lnTo>
                  <a:lnTo>
                    <a:pt x="102" y="67"/>
                  </a:lnTo>
                  <a:lnTo>
                    <a:pt x="111" y="73"/>
                  </a:lnTo>
                  <a:lnTo>
                    <a:pt x="131" y="57"/>
                  </a:lnTo>
                  <a:lnTo>
                    <a:pt x="140" y="51"/>
                  </a:lnTo>
                  <a:lnTo>
                    <a:pt x="148" y="32"/>
                  </a:lnTo>
                  <a:lnTo>
                    <a:pt x="146" y="13"/>
                  </a:lnTo>
                  <a:lnTo>
                    <a:pt x="152" y="3"/>
                  </a:lnTo>
                  <a:lnTo>
                    <a:pt x="165" y="0"/>
                  </a:lnTo>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17" name="Freeform 135">
              <a:extLst>
                <a:ext uri="{FF2B5EF4-FFF2-40B4-BE49-F238E27FC236}">
                  <a16:creationId xmlns:a16="http://schemas.microsoft.com/office/drawing/2014/main" id="{4B71AD7F-31EA-DE14-731C-77A02B06F6A8}"/>
                </a:ext>
              </a:extLst>
            </p:cNvPr>
            <p:cNvSpPr>
              <a:spLocks/>
            </p:cNvSpPr>
            <p:nvPr/>
          </p:nvSpPr>
          <p:spPr bwMode="auto">
            <a:xfrm>
              <a:off x="4554538" y="3489920"/>
              <a:ext cx="22225" cy="42882"/>
            </a:xfrm>
            <a:custGeom>
              <a:avLst/>
              <a:gdLst>
                <a:gd name="T0" fmla="*/ 12 w 14"/>
                <a:gd name="T1" fmla="*/ 0 h 27"/>
                <a:gd name="T2" fmla="*/ 14 w 14"/>
                <a:gd name="T3" fmla="*/ 13 h 27"/>
                <a:gd name="T4" fmla="*/ 10 w 14"/>
                <a:gd name="T5" fmla="*/ 27 h 27"/>
                <a:gd name="T6" fmla="*/ 4 w 14"/>
                <a:gd name="T7" fmla="*/ 23 h 27"/>
                <a:gd name="T8" fmla="*/ 0 w 14"/>
                <a:gd name="T9" fmla="*/ 11 h 27"/>
                <a:gd name="T10" fmla="*/ 4 w 14"/>
                <a:gd name="T11" fmla="*/ 6 h 27"/>
                <a:gd name="T12" fmla="*/ 12 w 14"/>
                <a:gd name="T13" fmla="*/ 0 h 27"/>
              </a:gdLst>
              <a:ahLst/>
              <a:cxnLst>
                <a:cxn ang="0">
                  <a:pos x="T0" y="T1"/>
                </a:cxn>
                <a:cxn ang="0">
                  <a:pos x="T2" y="T3"/>
                </a:cxn>
                <a:cxn ang="0">
                  <a:pos x="T4" y="T5"/>
                </a:cxn>
                <a:cxn ang="0">
                  <a:pos x="T6" y="T7"/>
                </a:cxn>
                <a:cxn ang="0">
                  <a:pos x="T8" y="T9"/>
                </a:cxn>
                <a:cxn ang="0">
                  <a:pos x="T10" y="T11"/>
                </a:cxn>
                <a:cxn ang="0">
                  <a:pos x="T12" y="T13"/>
                </a:cxn>
              </a:cxnLst>
              <a:rect l="0" t="0" r="r" b="b"/>
              <a:pathLst>
                <a:path w="14" h="27">
                  <a:moveTo>
                    <a:pt x="12" y="0"/>
                  </a:moveTo>
                  <a:lnTo>
                    <a:pt x="14" y="13"/>
                  </a:lnTo>
                  <a:lnTo>
                    <a:pt x="10" y="27"/>
                  </a:lnTo>
                  <a:lnTo>
                    <a:pt x="4" y="23"/>
                  </a:lnTo>
                  <a:lnTo>
                    <a:pt x="0" y="11"/>
                  </a:lnTo>
                  <a:lnTo>
                    <a:pt x="4" y="6"/>
                  </a:lnTo>
                  <a:lnTo>
                    <a:pt x="12" y="0"/>
                  </a:lnTo>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18" name="Freeform 136">
              <a:extLst>
                <a:ext uri="{FF2B5EF4-FFF2-40B4-BE49-F238E27FC236}">
                  <a16:creationId xmlns:a16="http://schemas.microsoft.com/office/drawing/2014/main" id="{23568FBB-F6ED-9445-BF55-19A34EED2B69}"/>
                </a:ext>
              </a:extLst>
            </p:cNvPr>
            <p:cNvSpPr>
              <a:spLocks/>
            </p:cNvSpPr>
            <p:nvPr/>
          </p:nvSpPr>
          <p:spPr bwMode="auto">
            <a:xfrm>
              <a:off x="2789238" y="3427979"/>
              <a:ext cx="0" cy="3176"/>
            </a:xfrm>
            <a:custGeom>
              <a:avLst/>
              <a:gdLst>
                <a:gd name="T0" fmla="*/ 0 h 2"/>
                <a:gd name="T1" fmla="*/ 2 h 2"/>
                <a:gd name="T2" fmla="*/ 0 h 2"/>
              </a:gdLst>
              <a:ahLst/>
              <a:cxnLst>
                <a:cxn ang="0">
                  <a:pos x="0" y="T0"/>
                </a:cxn>
                <a:cxn ang="0">
                  <a:pos x="0" y="T1"/>
                </a:cxn>
                <a:cxn ang="0">
                  <a:pos x="0" y="T2"/>
                </a:cxn>
              </a:cxnLst>
              <a:rect l="0" t="0" r="r" b="b"/>
              <a:pathLst>
                <a:path h="2">
                  <a:moveTo>
                    <a:pt x="0" y="0"/>
                  </a:moveTo>
                  <a:lnTo>
                    <a:pt x="0" y="2"/>
                  </a:lnTo>
                  <a:lnTo>
                    <a:pt x="0" y="0"/>
                  </a:lnTo>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19" name="Freeform 138">
              <a:extLst>
                <a:ext uri="{FF2B5EF4-FFF2-40B4-BE49-F238E27FC236}">
                  <a16:creationId xmlns:a16="http://schemas.microsoft.com/office/drawing/2014/main" id="{D5EA47AA-5A59-5801-7241-3A77DF91F164}"/>
                </a:ext>
              </a:extLst>
            </p:cNvPr>
            <p:cNvSpPr>
              <a:spLocks/>
            </p:cNvSpPr>
            <p:nvPr/>
          </p:nvSpPr>
          <p:spPr bwMode="auto">
            <a:xfrm>
              <a:off x="7458075" y="3420038"/>
              <a:ext cx="128588" cy="106411"/>
            </a:xfrm>
            <a:custGeom>
              <a:avLst/>
              <a:gdLst>
                <a:gd name="T0" fmla="*/ 31 w 81"/>
                <a:gd name="T1" fmla="*/ 0 h 67"/>
                <a:gd name="T2" fmla="*/ 48 w 81"/>
                <a:gd name="T3" fmla="*/ 19 h 67"/>
                <a:gd name="T4" fmla="*/ 58 w 81"/>
                <a:gd name="T5" fmla="*/ 25 h 67"/>
                <a:gd name="T6" fmla="*/ 67 w 81"/>
                <a:gd name="T7" fmla="*/ 26 h 67"/>
                <a:gd name="T8" fmla="*/ 77 w 81"/>
                <a:gd name="T9" fmla="*/ 21 h 67"/>
                <a:gd name="T10" fmla="*/ 81 w 81"/>
                <a:gd name="T11" fmla="*/ 38 h 67"/>
                <a:gd name="T12" fmla="*/ 60 w 81"/>
                <a:gd name="T13" fmla="*/ 44 h 67"/>
                <a:gd name="T14" fmla="*/ 48 w 81"/>
                <a:gd name="T15" fmla="*/ 61 h 67"/>
                <a:gd name="T16" fmla="*/ 25 w 81"/>
                <a:gd name="T17" fmla="*/ 48 h 67"/>
                <a:gd name="T18" fmla="*/ 19 w 81"/>
                <a:gd name="T19" fmla="*/ 67 h 67"/>
                <a:gd name="T20" fmla="*/ 2 w 81"/>
                <a:gd name="T21" fmla="*/ 67 h 67"/>
                <a:gd name="T22" fmla="*/ 0 w 81"/>
                <a:gd name="T23" fmla="*/ 50 h 67"/>
                <a:gd name="T24" fmla="*/ 8 w 81"/>
                <a:gd name="T25" fmla="*/ 38 h 67"/>
                <a:gd name="T26" fmla="*/ 21 w 81"/>
                <a:gd name="T27" fmla="*/ 36 h 67"/>
                <a:gd name="T28" fmla="*/ 27 w 81"/>
                <a:gd name="T29" fmla="*/ 13 h 67"/>
                <a:gd name="T30" fmla="*/ 31 w 81"/>
                <a:gd name="T31" fmla="*/ 0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1" h="67">
                  <a:moveTo>
                    <a:pt x="31" y="0"/>
                  </a:moveTo>
                  <a:lnTo>
                    <a:pt x="48" y="19"/>
                  </a:lnTo>
                  <a:lnTo>
                    <a:pt x="58" y="25"/>
                  </a:lnTo>
                  <a:lnTo>
                    <a:pt x="67" y="26"/>
                  </a:lnTo>
                  <a:lnTo>
                    <a:pt x="77" y="21"/>
                  </a:lnTo>
                  <a:lnTo>
                    <a:pt x="81" y="38"/>
                  </a:lnTo>
                  <a:lnTo>
                    <a:pt x="60" y="44"/>
                  </a:lnTo>
                  <a:lnTo>
                    <a:pt x="48" y="61"/>
                  </a:lnTo>
                  <a:lnTo>
                    <a:pt x="25" y="48"/>
                  </a:lnTo>
                  <a:lnTo>
                    <a:pt x="19" y="67"/>
                  </a:lnTo>
                  <a:lnTo>
                    <a:pt x="2" y="67"/>
                  </a:lnTo>
                  <a:lnTo>
                    <a:pt x="0" y="50"/>
                  </a:lnTo>
                  <a:lnTo>
                    <a:pt x="8" y="38"/>
                  </a:lnTo>
                  <a:lnTo>
                    <a:pt x="21" y="36"/>
                  </a:lnTo>
                  <a:lnTo>
                    <a:pt x="27" y="13"/>
                  </a:lnTo>
                  <a:lnTo>
                    <a:pt x="31" y="0"/>
                  </a:lnTo>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20" name="Freeform 140">
              <a:extLst>
                <a:ext uri="{FF2B5EF4-FFF2-40B4-BE49-F238E27FC236}">
                  <a16:creationId xmlns:a16="http://schemas.microsoft.com/office/drawing/2014/main" id="{3EDF6D5A-B9A6-94D1-B0BE-2D3AD5F0F481}"/>
                </a:ext>
              </a:extLst>
            </p:cNvPr>
            <p:cNvSpPr>
              <a:spLocks/>
            </p:cNvSpPr>
            <p:nvPr/>
          </p:nvSpPr>
          <p:spPr bwMode="auto">
            <a:xfrm>
              <a:off x="2943226" y="3377156"/>
              <a:ext cx="55563" cy="33353"/>
            </a:xfrm>
            <a:custGeom>
              <a:avLst/>
              <a:gdLst>
                <a:gd name="T0" fmla="*/ 6 w 35"/>
                <a:gd name="T1" fmla="*/ 0 h 21"/>
                <a:gd name="T2" fmla="*/ 12 w 35"/>
                <a:gd name="T3" fmla="*/ 9 h 21"/>
                <a:gd name="T4" fmla="*/ 21 w 35"/>
                <a:gd name="T5" fmla="*/ 11 h 21"/>
                <a:gd name="T6" fmla="*/ 35 w 35"/>
                <a:gd name="T7" fmla="*/ 11 h 21"/>
                <a:gd name="T8" fmla="*/ 27 w 35"/>
                <a:gd name="T9" fmla="*/ 19 h 21"/>
                <a:gd name="T10" fmla="*/ 23 w 35"/>
                <a:gd name="T11" fmla="*/ 21 h 21"/>
                <a:gd name="T12" fmla="*/ 4 w 35"/>
                <a:gd name="T13" fmla="*/ 11 h 21"/>
                <a:gd name="T14" fmla="*/ 0 w 35"/>
                <a:gd name="T15" fmla="*/ 7 h 21"/>
                <a:gd name="T16" fmla="*/ 6 w 35"/>
                <a:gd name="T17"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 h="21">
                  <a:moveTo>
                    <a:pt x="6" y="0"/>
                  </a:moveTo>
                  <a:lnTo>
                    <a:pt x="12" y="9"/>
                  </a:lnTo>
                  <a:lnTo>
                    <a:pt x="21" y="11"/>
                  </a:lnTo>
                  <a:lnTo>
                    <a:pt x="35" y="11"/>
                  </a:lnTo>
                  <a:lnTo>
                    <a:pt x="27" y="19"/>
                  </a:lnTo>
                  <a:lnTo>
                    <a:pt x="23" y="21"/>
                  </a:lnTo>
                  <a:lnTo>
                    <a:pt x="4" y="11"/>
                  </a:lnTo>
                  <a:lnTo>
                    <a:pt x="0" y="7"/>
                  </a:lnTo>
                  <a:lnTo>
                    <a:pt x="6" y="0"/>
                  </a:lnTo>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21" name="Freeform 141">
              <a:extLst>
                <a:ext uri="{FF2B5EF4-FFF2-40B4-BE49-F238E27FC236}">
                  <a16:creationId xmlns:a16="http://schemas.microsoft.com/office/drawing/2014/main" id="{388456EE-4C4E-04F9-C1FD-92C0930F1DA0}"/>
                </a:ext>
              </a:extLst>
            </p:cNvPr>
            <p:cNvSpPr>
              <a:spLocks/>
            </p:cNvSpPr>
            <p:nvPr/>
          </p:nvSpPr>
          <p:spPr bwMode="auto">
            <a:xfrm>
              <a:off x="2803526" y="3373979"/>
              <a:ext cx="30163" cy="49235"/>
            </a:xfrm>
            <a:custGeom>
              <a:avLst/>
              <a:gdLst>
                <a:gd name="T0" fmla="*/ 19 w 19"/>
                <a:gd name="T1" fmla="*/ 0 h 31"/>
                <a:gd name="T2" fmla="*/ 10 w 19"/>
                <a:gd name="T3" fmla="*/ 9 h 31"/>
                <a:gd name="T4" fmla="*/ 6 w 19"/>
                <a:gd name="T5" fmla="*/ 23 h 31"/>
                <a:gd name="T6" fmla="*/ 0 w 19"/>
                <a:gd name="T7" fmla="*/ 31 h 31"/>
                <a:gd name="T8" fmla="*/ 6 w 19"/>
                <a:gd name="T9" fmla="*/ 23 h 31"/>
                <a:gd name="T10" fmla="*/ 10 w 19"/>
                <a:gd name="T11" fmla="*/ 9 h 31"/>
                <a:gd name="T12" fmla="*/ 19 w 19"/>
                <a:gd name="T13" fmla="*/ 0 h 31"/>
              </a:gdLst>
              <a:ahLst/>
              <a:cxnLst>
                <a:cxn ang="0">
                  <a:pos x="T0" y="T1"/>
                </a:cxn>
                <a:cxn ang="0">
                  <a:pos x="T2" y="T3"/>
                </a:cxn>
                <a:cxn ang="0">
                  <a:pos x="T4" y="T5"/>
                </a:cxn>
                <a:cxn ang="0">
                  <a:pos x="T6" y="T7"/>
                </a:cxn>
                <a:cxn ang="0">
                  <a:pos x="T8" y="T9"/>
                </a:cxn>
                <a:cxn ang="0">
                  <a:pos x="T10" y="T11"/>
                </a:cxn>
                <a:cxn ang="0">
                  <a:pos x="T12" y="T13"/>
                </a:cxn>
              </a:cxnLst>
              <a:rect l="0" t="0" r="r" b="b"/>
              <a:pathLst>
                <a:path w="19" h="31">
                  <a:moveTo>
                    <a:pt x="19" y="0"/>
                  </a:moveTo>
                  <a:lnTo>
                    <a:pt x="10" y="9"/>
                  </a:lnTo>
                  <a:lnTo>
                    <a:pt x="6" y="23"/>
                  </a:lnTo>
                  <a:lnTo>
                    <a:pt x="0" y="31"/>
                  </a:lnTo>
                  <a:lnTo>
                    <a:pt x="6" y="23"/>
                  </a:lnTo>
                  <a:lnTo>
                    <a:pt x="10" y="9"/>
                  </a:lnTo>
                  <a:lnTo>
                    <a:pt x="19" y="0"/>
                  </a:lnTo>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22" name="Freeform 143">
              <a:extLst>
                <a:ext uri="{FF2B5EF4-FFF2-40B4-BE49-F238E27FC236}">
                  <a16:creationId xmlns:a16="http://schemas.microsoft.com/office/drawing/2014/main" id="{A6F147A0-C52C-4A83-F15D-39C7A6A00D83}"/>
                </a:ext>
              </a:extLst>
            </p:cNvPr>
            <p:cNvSpPr>
              <a:spLocks/>
            </p:cNvSpPr>
            <p:nvPr/>
          </p:nvSpPr>
          <p:spPr bwMode="auto">
            <a:xfrm>
              <a:off x="2940051" y="3297745"/>
              <a:ext cx="61913" cy="23824"/>
            </a:xfrm>
            <a:custGeom>
              <a:avLst/>
              <a:gdLst>
                <a:gd name="T0" fmla="*/ 6 w 39"/>
                <a:gd name="T1" fmla="*/ 0 h 15"/>
                <a:gd name="T2" fmla="*/ 25 w 39"/>
                <a:gd name="T3" fmla="*/ 4 h 15"/>
                <a:gd name="T4" fmla="*/ 39 w 39"/>
                <a:gd name="T5" fmla="*/ 9 h 15"/>
                <a:gd name="T6" fmla="*/ 39 w 39"/>
                <a:gd name="T7" fmla="*/ 13 h 15"/>
                <a:gd name="T8" fmla="*/ 31 w 39"/>
                <a:gd name="T9" fmla="*/ 15 h 15"/>
                <a:gd name="T10" fmla="*/ 16 w 39"/>
                <a:gd name="T11" fmla="*/ 9 h 15"/>
                <a:gd name="T12" fmla="*/ 0 w 39"/>
                <a:gd name="T13" fmla="*/ 0 h 15"/>
                <a:gd name="T14" fmla="*/ 6 w 39"/>
                <a:gd name="T15" fmla="*/ 0 h 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 h="15">
                  <a:moveTo>
                    <a:pt x="6" y="0"/>
                  </a:moveTo>
                  <a:lnTo>
                    <a:pt x="25" y="4"/>
                  </a:lnTo>
                  <a:lnTo>
                    <a:pt x="39" y="9"/>
                  </a:lnTo>
                  <a:lnTo>
                    <a:pt x="39" y="13"/>
                  </a:lnTo>
                  <a:lnTo>
                    <a:pt x="31" y="15"/>
                  </a:lnTo>
                  <a:lnTo>
                    <a:pt x="16" y="9"/>
                  </a:lnTo>
                  <a:lnTo>
                    <a:pt x="0" y="0"/>
                  </a:lnTo>
                  <a:lnTo>
                    <a:pt x="6" y="0"/>
                  </a:lnTo>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23" name="Freeform 145">
              <a:extLst>
                <a:ext uri="{FF2B5EF4-FFF2-40B4-BE49-F238E27FC236}">
                  <a16:creationId xmlns:a16="http://schemas.microsoft.com/office/drawing/2014/main" id="{59A9EA7C-7A37-0B4B-60D2-1F242F27C22D}"/>
                </a:ext>
              </a:extLst>
            </p:cNvPr>
            <p:cNvSpPr>
              <a:spLocks/>
            </p:cNvSpPr>
            <p:nvPr/>
          </p:nvSpPr>
          <p:spPr bwMode="auto">
            <a:xfrm>
              <a:off x="1527177" y="3270746"/>
              <a:ext cx="109538" cy="69882"/>
            </a:xfrm>
            <a:custGeom>
              <a:avLst/>
              <a:gdLst>
                <a:gd name="T0" fmla="*/ 0 w 69"/>
                <a:gd name="T1" fmla="*/ 0 h 44"/>
                <a:gd name="T2" fmla="*/ 17 w 69"/>
                <a:gd name="T3" fmla="*/ 5 h 44"/>
                <a:gd name="T4" fmla="*/ 25 w 69"/>
                <a:gd name="T5" fmla="*/ 7 h 44"/>
                <a:gd name="T6" fmla="*/ 38 w 69"/>
                <a:gd name="T7" fmla="*/ 9 h 44"/>
                <a:gd name="T8" fmla="*/ 42 w 69"/>
                <a:gd name="T9" fmla="*/ 17 h 44"/>
                <a:gd name="T10" fmla="*/ 50 w 69"/>
                <a:gd name="T11" fmla="*/ 25 h 44"/>
                <a:gd name="T12" fmla="*/ 63 w 69"/>
                <a:gd name="T13" fmla="*/ 32 h 44"/>
                <a:gd name="T14" fmla="*/ 69 w 69"/>
                <a:gd name="T15" fmla="*/ 42 h 44"/>
                <a:gd name="T16" fmla="*/ 63 w 69"/>
                <a:gd name="T17" fmla="*/ 44 h 44"/>
                <a:gd name="T18" fmla="*/ 38 w 69"/>
                <a:gd name="T19" fmla="*/ 36 h 44"/>
                <a:gd name="T20" fmla="*/ 35 w 69"/>
                <a:gd name="T21" fmla="*/ 30 h 44"/>
                <a:gd name="T22" fmla="*/ 23 w 69"/>
                <a:gd name="T23" fmla="*/ 25 h 44"/>
                <a:gd name="T24" fmla="*/ 19 w 69"/>
                <a:gd name="T25" fmla="*/ 19 h 44"/>
                <a:gd name="T26" fmla="*/ 6 w 69"/>
                <a:gd name="T27" fmla="*/ 17 h 44"/>
                <a:gd name="T28" fmla="*/ 0 w 69"/>
                <a:gd name="T29" fmla="*/ 5 h 44"/>
                <a:gd name="T30" fmla="*/ 0 w 69"/>
                <a:gd name="T31"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9" h="44">
                  <a:moveTo>
                    <a:pt x="0" y="0"/>
                  </a:moveTo>
                  <a:lnTo>
                    <a:pt x="17" y="5"/>
                  </a:lnTo>
                  <a:lnTo>
                    <a:pt x="25" y="7"/>
                  </a:lnTo>
                  <a:lnTo>
                    <a:pt x="38" y="9"/>
                  </a:lnTo>
                  <a:lnTo>
                    <a:pt x="42" y="17"/>
                  </a:lnTo>
                  <a:lnTo>
                    <a:pt x="50" y="25"/>
                  </a:lnTo>
                  <a:lnTo>
                    <a:pt x="63" y="32"/>
                  </a:lnTo>
                  <a:lnTo>
                    <a:pt x="69" y="42"/>
                  </a:lnTo>
                  <a:lnTo>
                    <a:pt x="63" y="44"/>
                  </a:lnTo>
                  <a:lnTo>
                    <a:pt x="38" y="36"/>
                  </a:lnTo>
                  <a:lnTo>
                    <a:pt x="35" y="30"/>
                  </a:lnTo>
                  <a:lnTo>
                    <a:pt x="23" y="25"/>
                  </a:lnTo>
                  <a:lnTo>
                    <a:pt x="19" y="19"/>
                  </a:lnTo>
                  <a:lnTo>
                    <a:pt x="6" y="17"/>
                  </a:lnTo>
                  <a:lnTo>
                    <a:pt x="0" y="5"/>
                  </a:lnTo>
                  <a:lnTo>
                    <a:pt x="0" y="0"/>
                  </a:lnTo>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24" name="Freeform 147">
              <a:extLst>
                <a:ext uri="{FF2B5EF4-FFF2-40B4-BE49-F238E27FC236}">
                  <a16:creationId xmlns:a16="http://schemas.microsoft.com/office/drawing/2014/main" id="{CCD8141C-418D-2F98-633B-0204F47EDDC4}"/>
                </a:ext>
              </a:extLst>
            </p:cNvPr>
            <p:cNvSpPr>
              <a:spLocks/>
            </p:cNvSpPr>
            <p:nvPr/>
          </p:nvSpPr>
          <p:spPr bwMode="auto">
            <a:xfrm>
              <a:off x="3052763" y="3248511"/>
              <a:ext cx="152400" cy="142940"/>
            </a:xfrm>
            <a:custGeom>
              <a:avLst/>
              <a:gdLst>
                <a:gd name="T0" fmla="*/ 50 w 96"/>
                <a:gd name="T1" fmla="*/ 0 h 90"/>
                <a:gd name="T2" fmla="*/ 58 w 96"/>
                <a:gd name="T3" fmla="*/ 0 h 90"/>
                <a:gd name="T4" fmla="*/ 54 w 96"/>
                <a:gd name="T5" fmla="*/ 4 h 90"/>
                <a:gd name="T6" fmla="*/ 48 w 96"/>
                <a:gd name="T7" fmla="*/ 15 h 90"/>
                <a:gd name="T8" fmla="*/ 37 w 96"/>
                <a:gd name="T9" fmla="*/ 33 h 90"/>
                <a:gd name="T10" fmla="*/ 48 w 96"/>
                <a:gd name="T11" fmla="*/ 27 h 90"/>
                <a:gd name="T12" fmla="*/ 56 w 96"/>
                <a:gd name="T13" fmla="*/ 31 h 90"/>
                <a:gd name="T14" fmla="*/ 50 w 96"/>
                <a:gd name="T15" fmla="*/ 37 h 90"/>
                <a:gd name="T16" fmla="*/ 64 w 96"/>
                <a:gd name="T17" fmla="*/ 40 h 90"/>
                <a:gd name="T18" fmla="*/ 70 w 96"/>
                <a:gd name="T19" fmla="*/ 39 h 90"/>
                <a:gd name="T20" fmla="*/ 85 w 96"/>
                <a:gd name="T21" fmla="*/ 42 h 90"/>
                <a:gd name="T22" fmla="*/ 79 w 96"/>
                <a:gd name="T23" fmla="*/ 56 h 90"/>
                <a:gd name="T24" fmla="*/ 91 w 96"/>
                <a:gd name="T25" fmla="*/ 52 h 90"/>
                <a:gd name="T26" fmla="*/ 91 w 96"/>
                <a:gd name="T27" fmla="*/ 63 h 90"/>
                <a:gd name="T28" fmla="*/ 96 w 96"/>
                <a:gd name="T29" fmla="*/ 73 h 90"/>
                <a:gd name="T30" fmla="*/ 91 w 96"/>
                <a:gd name="T31" fmla="*/ 88 h 90"/>
                <a:gd name="T32" fmla="*/ 83 w 96"/>
                <a:gd name="T33" fmla="*/ 90 h 90"/>
                <a:gd name="T34" fmla="*/ 73 w 96"/>
                <a:gd name="T35" fmla="*/ 87 h 90"/>
                <a:gd name="T36" fmla="*/ 77 w 96"/>
                <a:gd name="T37" fmla="*/ 71 h 90"/>
                <a:gd name="T38" fmla="*/ 71 w 96"/>
                <a:gd name="T39" fmla="*/ 69 h 90"/>
                <a:gd name="T40" fmla="*/ 58 w 96"/>
                <a:gd name="T41" fmla="*/ 85 h 90"/>
                <a:gd name="T42" fmla="*/ 48 w 96"/>
                <a:gd name="T43" fmla="*/ 85 h 90"/>
                <a:gd name="T44" fmla="*/ 60 w 96"/>
                <a:gd name="T45" fmla="*/ 77 h 90"/>
                <a:gd name="T46" fmla="*/ 47 w 96"/>
                <a:gd name="T47" fmla="*/ 71 h 90"/>
                <a:gd name="T48" fmla="*/ 31 w 96"/>
                <a:gd name="T49" fmla="*/ 73 h 90"/>
                <a:gd name="T50" fmla="*/ 4 w 96"/>
                <a:gd name="T51" fmla="*/ 71 h 90"/>
                <a:gd name="T52" fmla="*/ 0 w 96"/>
                <a:gd name="T53" fmla="*/ 67 h 90"/>
                <a:gd name="T54" fmla="*/ 8 w 96"/>
                <a:gd name="T55" fmla="*/ 62 h 90"/>
                <a:gd name="T56" fmla="*/ 4 w 96"/>
                <a:gd name="T57" fmla="*/ 56 h 90"/>
                <a:gd name="T58" fmla="*/ 16 w 96"/>
                <a:gd name="T59" fmla="*/ 44 h 90"/>
                <a:gd name="T60" fmla="*/ 29 w 96"/>
                <a:gd name="T61" fmla="*/ 15 h 90"/>
                <a:gd name="T62" fmla="*/ 39 w 96"/>
                <a:gd name="T63" fmla="*/ 6 h 90"/>
                <a:gd name="T64" fmla="*/ 50 w 96"/>
                <a:gd name="T65" fmla="*/ 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96" h="90">
                  <a:moveTo>
                    <a:pt x="50" y="0"/>
                  </a:moveTo>
                  <a:lnTo>
                    <a:pt x="58" y="0"/>
                  </a:lnTo>
                  <a:lnTo>
                    <a:pt x="54" y="4"/>
                  </a:lnTo>
                  <a:lnTo>
                    <a:pt x="48" y="15"/>
                  </a:lnTo>
                  <a:lnTo>
                    <a:pt x="37" y="33"/>
                  </a:lnTo>
                  <a:lnTo>
                    <a:pt x="48" y="27"/>
                  </a:lnTo>
                  <a:lnTo>
                    <a:pt x="56" y="31"/>
                  </a:lnTo>
                  <a:lnTo>
                    <a:pt x="50" y="37"/>
                  </a:lnTo>
                  <a:lnTo>
                    <a:pt x="64" y="40"/>
                  </a:lnTo>
                  <a:lnTo>
                    <a:pt x="70" y="39"/>
                  </a:lnTo>
                  <a:lnTo>
                    <a:pt x="85" y="42"/>
                  </a:lnTo>
                  <a:lnTo>
                    <a:pt x="79" y="56"/>
                  </a:lnTo>
                  <a:lnTo>
                    <a:pt x="91" y="52"/>
                  </a:lnTo>
                  <a:lnTo>
                    <a:pt x="91" y="63"/>
                  </a:lnTo>
                  <a:lnTo>
                    <a:pt x="96" y="73"/>
                  </a:lnTo>
                  <a:lnTo>
                    <a:pt x="91" y="88"/>
                  </a:lnTo>
                  <a:lnTo>
                    <a:pt x="83" y="90"/>
                  </a:lnTo>
                  <a:lnTo>
                    <a:pt x="73" y="87"/>
                  </a:lnTo>
                  <a:lnTo>
                    <a:pt x="77" y="71"/>
                  </a:lnTo>
                  <a:lnTo>
                    <a:pt x="71" y="69"/>
                  </a:lnTo>
                  <a:lnTo>
                    <a:pt x="58" y="85"/>
                  </a:lnTo>
                  <a:lnTo>
                    <a:pt x="48" y="85"/>
                  </a:lnTo>
                  <a:lnTo>
                    <a:pt x="60" y="77"/>
                  </a:lnTo>
                  <a:lnTo>
                    <a:pt x="47" y="71"/>
                  </a:lnTo>
                  <a:lnTo>
                    <a:pt x="31" y="73"/>
                  </a:lnTo>
                  <a:lnTo>
                    <a:pt x="4" y="71"/>
                  </a:lnTo>
                  <a:lnTo>
                    <a:pt x="0" y="67"/>
                  </a:lnTo>
                  <a:lnTo>
                    <a:pt x="8" y="62"/>
                  </a:lnTo>
                  <a:lnTo>
                    <a:pt x="4" y="56"/>
                  </a:lnTo>
                  <a:lnTo>
                    <a:pt x="16" y="44"/>
                  </a:lnTo>
                  <a:lnTo>
                    <a:pt x="29" y="15"/>
                  </a:lnTo>
                  <a:lnTo>
                    <a:pt x="39" y="6"/>
                  </a:lnTo>
                  <a:lnTo>
                    <a:pt x="50" y="0"/>
                  </a:lnTo>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25" name="Freeform 149">
              <a:extLst>
                <a:ext uri="{FF2B5EF4-FFF2-40B4-BE49-F238E27FC236}">
                  <a16:creationId xmlns:a16="http://schemas.microsoft.com/office/drawing/2014/main" id="{35CC8BE2-0A90-F537-FC82-24122A5844CA}"/>
                </a:ext>
              </a:extLst>
            </p:cNvPr>
            <p:cNvSpPr>
              <a:spLocks/>
            </p:cNvSpPr>
            <p:nvPr/>
          </p:nvSpPr>
          <p:spPr bwMode="auto">
            <a:xfrm>
              <a:off x="1423989" y="3169100"/>
              <a:ext cx="42863" cy="61941"/>
            </a:xfrm>
            <a:custGeom>
              <a:avLst/>
              <a:gdLst>
                <a:gd name="T0" fmla="*/ 0 w 27"/>
                <a:gd name="T1" fmla="*/ 0 h 39"/>
                <a:gd name="T2" fmla="*/ 6 w 27"/>
                <a:gd name="T3" fmla="*/ 4 h 39"/>
                <a:gd name="T4" fmla="*/ 19 w 27"/>
                <a:gd name="T5" fmla="*/ 2 h 39"/>
                <a:gd name="T6" fmla="*/ 15 w 27"/>
                <a:gd name="T7" fmla="*/ 25 h 39"/>
                <a:gd name="T8" fmla="*/ 27 w 27"/>
                <a:gd name="T9" fmla="*/ 39 h 39"/>
                <a:gd name="T10" fmla="*/ 23 w 27"/>
                <a:gd name="T11" fmla="*/ 39 h 39"/>
                <a:gd name="T12" fmla="*/ 15 w 27"/>
                <a:gd name="T13" fmla="*/ 31 h 39"/>
                <a:gd name="T14" fmla="*/ 9 w 27"/>
                <a:gd name="T15" fmla="*/ 21 h 39"/>
                <a:gd name="T16" fmla="*/ 0 w 27"/>
                <a:gd name="T17" fmla="*/ 16 h 39"/>
                <a:gd name="T18" fmla="*/ 0 w 27"/>
                <a:gd name="T19" fmla="*/ 8 h 39"/>
                <a:gd name="T20" fmla="*/ 0 w 27"/>
                <a:gd name="T21" fmla="*/ 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 h="39">
                  <a:moveTo>
                    <a:pt x="0" y="0"/>
                  </a:moveTo>
                  <a:lnTo>
                    <a:pt x="6" y="4"/>
                  </a:lnTo>
                  <a:lnTo>
                    <a:pt x="19" y="2"/>
                  </a:lnTo>
                  <a:lnTo>
                    <a:pt x="15" y="25"/>
                  </a:lnTo>
                  <a:lnTo>
                    <a:pt x="27" y="39"/>
                  </a:lnTo>
                  <a:lnTo>
                    <a:pt x="23" y="39"/>
                  </a:lnTo>
                  <a:lnTo>
                    <a:pt x="15" y="31"/>
                  </a:lnTo>
                  <a:lnTo>
                    <a:pt x="9" y="21"/>
                  </a:lnTo>
                  <a:lnTo>
                    <a:pt x="0" y="16"/>
                  </a:lnTo>
                  <a:lnTo>
                    <a:pt x="0" y="8"/>
                  </a:lnTo>
                  <a:lnTo>
                    <a:pt x="0" y="0"/>
                  </a:lnTo>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26" name="Freeform 151">
              <a:extLst>
                <a:ext uri="{FF2B5EF4-FFF2-40B4-BE49-F238E27FC236}">
                  <a16:creationId xmlns:a16="http://schemas.microsoft.com/office/drawing/2014/main" id="{2916C117-F01A-F5D0-D690-31B9389F621F}"/>
                </a:ext>
              </a:extLst>
            </p:cNvPr>
            <p:cNvSpPr>
              <a:spLocks/>
            </p:cNvSpPr>
            <p:nvPr/>
          </p:nvSpPr>
          <p:spPr bwMode="auto">
            <a:xfrm>
              <a:off x="7497762" y="3162747"/>
              <a:ext cx="69850" cy="247762"/>
            </a:xfrm>
            <a:custGeom>
              <a:avLst/>
              <a:gdLst>
                <a:gd name="T0" fmla="*/ 15 w 44"/>
                <a:gd name="T1" fmla="*/ 0 h 156"/>
                <a:gd name="T2" fmla="*/ 19 w 44"/>
                <a:gd name="T3" fmla="*/ 16 h 156"/>
                <a:gd name="T4" fmla="*/ 23 w 44"/>
                <a:gd name="T5" fmla="*/ 31 h 156"/>
                <a:gd name="T6" fmla="*/ 23 w 44"/>
                <a:gd name="T7" fmla="*/ 50 h 156"/>
                <a:gd name="T8" fmla="*/ 29 w 44"/>
                <a:gd name="T9" fmla="*/ 69 h 156"/>
                <a:gd name="T10" fmla="*/ 44 w 44"/>
                <a:gd name="T11" fmla="*/ 102 h 156"/>
                <a:gd name="T12" fmla="*/ 23 w 44"/>
                <a:gd name="T13" fmla="*/ 94 h 156"/>
                <a:gd name="T14" fmla="*/ 13 w 44"/>
                <a:gd name="T15" fmla="*/ 123 h 156"/>
                <a:gd name="T16" fmla="*/ 27 w 44"/>
                <a:gd name="T17" fmla="*/ 139 h 156"/>
                <a:gd name="T18" fmla="*/ 27 w 44"/>
                <a:gd name="T19" fmla="*/ 152 h 156"/>
                <a:gd name="T20" fmla="*/ 17 w 44"/>
                <a:gd name="T21" fmla="*/ 141 h 156"/>
                <a:gd name="T22" fmla="*/ 8 w 44"/>
                <a:gd name="T23" fmla="*/ 156 h 156"/>
                <a:gd name="T24" fmla="*/ 6 w 44"/>
                <a:gd name="T25" fmla="*/ 141 h 156"/>
                <a:gd name="T26" fmla="*/ 8 w 44"/>
                <a:gd name="T27" fmla="*/ 123 h 156"/>
                <a:gd name="T28" fmla="*/ 6 w 44"/>
                <a:gd name="T29" fmla="*/ 104 h 156"/>
                <a:gd name="T30" fmla="*/ 10 w 44"/>
                <a:gd name="T31" fmla="*/ 91 h 156"/>
                <a:gd name="T32" fmla="*/ 10 w 44"/>
                <a:gd name="T33" fmla="*/ 66 h 156"/>
                <a:gd name="T34" fmla="*/ 0 w 44"/>
                <a:gd name="T35" fmla="*/ 46 h 156"/>
                <a:gd name="T36" fmla="*/ 2 w 44"/>
                <a:gd name="T37" fmla="*/ 22 h 156"/>
                <a:gd name="T38" fmla="*/ 15 w 44"/>
                <a:gd name="T39" fmla="*/ 14 h 156"/>
                <a:gd name="T40" fmla="*/ 10 w 44"/>
                <a:gd name="T41" fmla="*/ 4 h 156"/>
                <a:gd name="T42" fmla="*/ 15 w 44"/>
                <a:gd name="T43" fmla="*/ 0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4" h="156">
                  <a:moveTo>
                    <a:pt x="15" y="0"/>
                  </a:moveTo>
                  <a:lnTo>
                    <a:pt x="19" y="16"/>
                  </a:lnTo>
                  <a:lnTo>
                    <a:pt x="23" y="31"/>
                  </a:lnTo>
                  <a:lnTo>
                    <a:pt x="23" y="50"/>
                  </a:lnTo>
                  <a:lnTo>
                    <a:pt x="29" y="69"/>
                  </a:lnTo>
                  <a:lnTo>
                    <a:pt x="44" y="102"/>
                  </a:lnTo>
                  <a:lnTo>
                    <a:pt x="23" y="94"/>
                  </a:lnTo>
                  <a:lnTo>
                    <a:pt x="13" y="123"/>
                  </a:lnTo>
                  <a:lnTo>
                    <a:pt x="27" y="139"/>
                  </a:lnTo>
                  <a:lnTo>
                    <a:pt x="27" y="152"/>
                  </a:lnTo>
                  <a:lnTo>
                    <a:pt x="17" y="141"/>
                  </a:lnTo>
                  <a:lnTo>
                    <a:pt x="8" y="156"/>
                  </a:lnTo>
                  <a:lnTo>
                    <a:pt x="6" y="141"/>
                  </a:lnTo>
                  <a:lnTo>
                    <a:pt x="8" y="123"/>
                  </a:lnTo>
                  <a:lnTo>
                    <a:pt x="6" y="104"/>
                  </a:lnTo>
                  <a:lnTo>
                    <a:pt x="10" y="91"/>
                  </a:lnTo>
                  <a:lnTo>
                    <a:pt x="10" y="66"/>
                  </a:lnTo>
                  <a:lnTo>
                    <a:pt x="0" y="46"/>
                  </a:lnTo>
                  <a:lnTo>
                    <a:pt x="2" y="22"/>
                  </a:lnTo>
                  <a:lnTo>
                    <a:pt x="15" y="14"/>
                  </a:lnTo>
                  <a:lnTo>
                    <a:pt x="10" y="4"/>
                  </a:lnTo>
                  <a:lnTo>
                    <a:pt x="15" y="0"/>
                  </a:lnTo>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27" name="Freeform 153">
              <a:extLst>
                <a:ext uri="{FF2B5EF4-FFF2-40B4-BE49-F238E27FC236}">
                  <a16:creationId xmlns:a16="http://schemas.microsoft.com/office/drawing/2014/main" id="{0CAE32F1-050F-7C4A-CC7D-4A6206B5FF07}"/>
                </a:ext>
              </a:extLst>
            </p:cNvPr>
            <p:cNvSpPr>
              <a:spLocks/>
            </p:cNvSpPr>
            <p:nvPr/>
          </p:nvSpPr>
          <p:spPr bwMode="auto">
            <a:xfrm>
              <a:off x="4146551" y="3142100"/>
              <a:ext cx="98425" cy="103235"/>
            </a:xfrm>
            <a:custGeom>
              <a:avLst/>
              <a:gdLst>
                <a:gd name="T0" fmla="*/ 46 w 62"/>
                <a:gd name="T1" fmla="*/ 0 h 65"/>
                <a:gd name="T2" fmla="*/ 62 w 62"/>
                <a:gd name="T3" fmla="*/ 11 h 65"/>
                <a:gd name="T4" fmla="*/ 52 w 62"/>
                <a:gd name="T5" fmla="*/ 25 h 65"/>
                <a:gd name="T6" fmla="*/ 56 w 62"/>
                <a:gd name="T7" fmla="*/ 38 h 65"/>
                <a:gd name="T8" fmla="*/ 44 w 62"/>
                <a:gd name="T9" fmla="*/ 56 h 65"/>
                <a:gd name="T10" fmla="*/ 20 w 62"/>
                <a:gd name="T11" fmla="*/ 65 h 65"/>
                <a:gd name="T12" fmla="*/ 0 w 62"/>
                <a:gd name="T13" fmla="*/ 63 h 65"/>
                <a:gd name="T14" fmla="*/ 12 w 62"/>
                <a:gd name="T15" fmla="*/ 42 h 65"/>
                <a:gd name="T16" fmla="*/ 4 w 62"/>
                <a:gd name="T17" fmla="*/ 25 h 65"/>
                <a:gd name="T18" fmla="*/ 23 w 62"/>
                <a:gd name="T19" fmla="*/ 10 h 65"/>
                <a:gd name="T20" fmla="*/ 35 w 62"/>
                <a:gd name="T21" fmla="*/ 0 h 65"/>
                <a:gd name="T22" fmla="*/ 46 w 62"/>
                <a:gd name="T23" fmla="*/ 0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2" h="65">
                  <a:moveTo>
                    <a:pt x="46" y="0"/>
                  </a:moveTo>
                  <a:lnTo>
                    <a:pt x="62" y="11"/>
                  </a:lnTo>
                  <a:lnTo>
                    <a:pt x="52" y="25"/>
                  </a:lnTo>
                  <a:lnTo>
                    <a:pt x="56" y="38"/>
                  </a:lnTo>
                  <a:lnTo>
                    <a:pt x="44" y="56"/>
                  </a:lnTo>
                  <a:lnTo>
                    <a:pt x="20" y="65"/>
                  </a:lnTo>
                  <a:lnTo>
                    <a:pt x="0" y="63"/>
                  </a:lnTo>
                  <a:lnTo>
                    <a:pt x="12" y="42"/>
                  </a:lnTo>
                  <a:lnTo>
                    <a:pt x="4" y="25"/>
                  </a:lnTo>
                  <a:lnTo>
                    <a:pt x="23" y="10"/>
                  </a:lnTo>
                  <a:lnTo>
                    <a:pt x="35" y="0"/>
                  </a:lnTo>
                  <a:lnTo>
                    <a:pt x="46" y="0"/>
                  </a:lnTo>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28" name="Freeform 155">
              <a:extLst>
                <a:ext uri="{FF2B5EF4-FFF2-40B4-BE49-F238E27FC236}">
                  <a16:creationId xmlns:a16="http://schemas.microsoft.com/office/drawing/2014/main" id="{688E0800-3F39-8182-AE7F-B3ED4FD9FADB}"/>
                </a:ext>
              </a:extLst>
            </p:cNvPr>
            <p:cNvSpPr>
              <a:spLocks/>
            </p:cNvSpPr>
            <p:nvPr/>
          </p:nvSpPr>
          <p:spPr bwMode="auto">
            <a:xfrm>
              <a:off x="4610101" y="3111924"/>
              <a:ext cx="39688" cy="39706"/>
            </a:xfrm>
            <a:custGeom>
              <a:avLst/>
              <a:gdLst>
                <a:gd name="T0" fmla="*/ 19 w 25"/>
                <a:gd name="T1" fmla="*/ 0 h 25"/>
                <a:gd name="T2" fmla="*/ 25 w 25"/>
                <a:gd name="T3" fmla="*/ 11 h 25"/>
                <a:gd name="T4" fmla="*/ 17 w 25"/>
                <a:gd name="T5" fmla="*/ 25 h 25"/>
                <a:gd name="T6" fmla="*/ 2 w 25"/>
                <a:gd name="T7" fmla="*/ 13 h 25"/>
                <a:gd name="T8" fmla="*/ 0 w 25"/>
                <a:gd name="T9" fmla="*/ 7 h 25"/>
                <a:gd name="T10" fmla="*/ 19 w 25"/>
                <a:gd name="T11" fmla="*/ 0 h 25"/>
              </a:gdLst>
              <a:ahLst/>
              <a:cxnLst>
                <a:cxn ang="0">
                  <a:pos x="T0" y="T1"/>
                </a:cxn>
                <a:cxn ang="0">
                  <a:pos x="T2" y="T3"/>
                </a:cxn>
                <a:cxn ang="0">
                  <a:pos x="T4" y="T5"/>
                </a:cxn>
                <a:cxn ang="0">
                  <a:pos x="T6" y="T7"/>
                </a:cxn>
                <a:cxn ang="0">
                  <a:pos x="T8" y="T9"/>
                </a:cxn>
                <a:cxn ang="0">
                  <a:pos x="T10" y="T11"/>
                </a:cxn>
              </a:cxnLst>
              <a:rect l="0" t="0" r="r" b="b"/>
              <a:pathLst>
                <a:path w="25" h="25">
                  <a:moveTo>
                    <a:pt x="19" y="0"/>
                  </a:moveTo>
                  <a:lnTo>
                    <a:pt x="25" y="11"/>
                  </a:lnTo>
                  <a:lnTo>
                    <a:pt x="17" y="25"/>
                  </a:lnTo>
                  <a:lnTo>
                    <a:pt x="2" y="13"/>
                  </a:lnTo>
                  <a:lnTo>
                    <a:pt x="0" y="7"/>
                  </a:lnTo>
                  <a:lnTo>
                    <a:pt x="19" y="0"/>
                  </a:lnTo>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29" name="Freeform 157">
              <a:extLst>
                <a:ext uri="{FF2B5EF4-FFF2-40B4-BE49-F238E27FC236}">
                  <a16:creationId xmlns:a16="http://schemas.microsoft.com/office/drawing/2014/main" id="{4A42D468-AEBA-52BF-64AC-0DC13C3FAB20}"/>
                </a:ext>
              </a:extLst>
            </p:cNvPr>
            <p:cNvSpPr>
              <a:spLocks/>
            </p:cNvSpPr>
            <p:nvPr/>
          </p:nvSpPr>
          <p:spPr bwMode="auto">
            <a:xfrm>
              <a:off x="949327" y="3053159"/>
              <a:ext cx="53975" cy="36530"/>
            </a:xfrm>
            <a:custGeom>
              <a:avLst/>
              <a:gdLst>
                <a:gd name="T0" fmla="*/ 19 w 34"/>
                <a:gd name="T1" fmla="*/ 0 h 23"/>
                <a:gd name="T2" fmla="*/ 30 w 34"/>
                <a:gd name="T3" fmla="*/ 0 h 23"/>
                <a:gd name="T4" fmla="*/ 34 w 34"/>
                <a:gd name="T5" fmla="*/ 8 h 23"/>
                <a:gd name="T6" fmla="*/ 23 w 34"/>
                <a:gd name="T7" fmla="*/ 18 h 23"/>
                <a:gd name="T8" fmla="*/ 9 w 34"/>
                <a:gd name="T9" fmla="*/ 23 h 23"/>
                <a:gd name="T10" fmla="*/ 1 w 34"/>
                <a:gd name="T11" fmla="*/ 20 h 23"/>
                <a:gd name="T12" fmla="*/ 0 w 34"/>
                <a:gd name="T13" fmla="*/ 10 h 23"/>
                <a:gd name="T14" fmla="*/ 11 w 34"/>
                <a:gd name="T15" fmla="*/ 2 h 23"/>
                <a:gd name="T16" fmla="*/ 19 w 34"/>
                <a:gd name="T17"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23">
                  <a:moveTo>
                    <a:pt x="19" y="0"/>
                  </a:moveTo>
                  <a:lnTo>
                    <a:pt x="30" y="0"/>
                  </a:lnTo>
                  <a:lnTo>
                    <a:pt x="34" y="8"/>
                  </a:lnTo>
                  <a:lnTo>
                    <a:pt x="23" y="18"/>
                  </a:lnTo>
                  <a:lnTo>
                    <a:pt x="9" y="23"/>
                  </a:lnTo>
                  <a:lnTo>
                    <a:pt x="1" y="20"/>
                  </a:lnTo>
                  <a:lnTo>
                    <a:pt x="0" y="10"/>
                  </a:lnTo>
                  <a:lnTo>
                    <a:pt x="11" y="2"/>
                  </a:lnTo>
                  <a:lnTo>
                    <a:pt x="19" y="0"/>
                  </a:lnTo>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30" name="Freeform 159">
              <a:extLst>
                <a:ext uri="{FF2B5EF4-FFF2-40B4-BE49-F238E27FC236}">
                  <a16:creationId xmlns:a16="http://schemas.microsoft.com/office/drawing/2014/main" id="{26EF068C-4E47-3F82-3BD2-7B28ECD79BBA}"/>
                </a:ext>
              </a:extLst>
            </p:cNvPr>
            <p:cNvSpPr>
              <a:spLocks/>
            </p:cNvSpPr>
            <p:nvPr/>
          </p:nvSpPr>
          <p:spPr bwMode="auto">
            <a:xfrm>
              <a:off x="4232276" y="3032513"/>
              <a:ext cx="173038" cy="265233"/>
            </a:xfrm>
            <a:custGeom>
              <a:avLst/>
              <a:gdLst>
                <a:gd name="T0" fmla="*/ 44 w 109"/>
                <a:gd name="T1" fmla="*/ 0 h 167"/>
                <a:gd name="T2" fmla="*/ 29 w 109"/>
                <a:gd name="T3" fmla="*/ 23 h 167"/>
                <a:gd name="T4" fmla="*/ 42 w 109"/>
                <a:gd name="T5" fmla="*/ 19 h 167"/>
                <a:gd name="T6" fmla="*/ 60 w 109"/>
                <a:gd name="T7" fmla="*/ 19 h 167"/>
                <a:gd name="T8" fmla="*/ 54 w 109"/>
                <a:gd name="T9" fmla="*/ 34 h 167"/>
                <a:gd name="T10" fmla="*/ 42 w 109"/>
                <a:gd name="T11" fmla="*/ 52 h 167"/>
                <a:gd name="T12" fmla="*/ 58 w 109"/>
                <a:gd name="T13" fmla="*/ 54 h 167"/>
                <a:gd name="T14" fmla="*/ 58 w 109"/>
                <a:gd name="T15" fmla="*/ 56 h 167"/>
                <a:gd name="T16" fmla="*/ 69 w 109"/>
                <a:gd name="T17" fmla="*/ 79 h 167"/>
                <a:gd name="T18" fmla="*/ 79 w 109"/>
                <a:gd name="T19" fmla="*/ 82 h 167"/>
                <a:gd name="T20" fmla="*/ 88 w 109"/>
                <a:gd name="T21" fmla="*/ 104 h 167"/>
                <a:gd name="T22" fmla="*/ 92 w 109"/>
                <a:gd name="T23" fmla="*/ 111 h 167"/>
                <a:gd name="T24" fmla="*/ 109 w 109"/>
                <a:gd name="T25" fmla="*/ 113 h 167"/>
                <a:gd name="T26" fmla="*/ 108 w 109"/>
                <a:gd name="T27" fmla="*/ 127 h 167"/>
                <a:gd name="T28" fmla="*/ 100 w 109"/>
                <a:gd name="T29" fmla="*/ 132 h 167"/>
                <a:gd name="T30" fmla="*/ 106 w 109"/>
                <a:gd name="T31" fmla="*/ 142 h 167"/>
                <a:gd name="T32" fmla="*/ 92 w 109"/>
                <a:gd name="T33" fmla="*/ 150 h 167"/>
                <a:gd name="T34" fmla="*/ 73 w 109"/>
                <a:gd name="T35" fmla="*/ 150 h 167"/>
                <a:gd name="T36" fmla="*/ 50 w 109"/>
                <a:gd name="T37" fmla="*/ 155 h 167"/>
                <a:gd name="T38" fmla="*/ 44 w 109"/>
                <a:gd name="T39" fmla="*/ 151 h 167"/>
                <a:gd name="T40" fmla="*/ 35 w 109"/>
                <a:gd name="T41" fmla="*/ 161 h 167"/>
                <a:gd name="T42" fmla="*/ 21 w 109"/>
                <a:gd name="T43" fmla="*/ 159 h 167"/>
                <a:gd name="T44" fmla="*/ 12 w 109"/>
                <a:gd name="T45" fmla="*/ 167 h 167"/>
                <a:gd name="T46" fmla="*/ 6 w 109"/>
                <a:gd name="T47" fmla="*/ 163 h 167"/>
                <a:gd name="T48" fmla="*/ 25 w 109"/>
                <a:gd name="T49" fmla="*/ 142 h 167"/>
                <a:gd name="T50" fmla="*/ 37 w 109"/>
                <a:gd name="T51" fmla="*/ 138 h 167"/>
                <a:gd name="T52" fmla="*/ 15 w 109"/>
                <a:gd name="T53" fmla="*/ 136 h 167"/>
                <a:gd name="T54" fmla="*/ 12 w 109"/>
                <a:gd name="T55" fmla="*/ 128 h 167"/>
                <a:gd name="T56" fmla="*/ 27 w 109"/>
                <a:gd name="T57" fmla="*/ 123 h 167"/>
                <a:gd name="T58" fmla="*/ 19 w 109"/>
                <a:gd name="T59" fmla="*/ 111 h 167"/>
                <a:gd name="T60" fmla="*/ 21 w 109"/>
                <a:gd name="T61" fmla="*/ 102 h 167"/>
                <a:gd name="T62" fmla="*/ 42 w 109"/>
                <a:gd name="T63" fmla="*/ 102 h 167"/>
                <a:gd name="T64" fmla="*/ 44 w 109"/>
                <a:gd name="T65" fmla="*/ 90 h 167"/>
                <a:gd name="T66" fmla="*/ 35 w 109"/>
                <a:gd name="T67" fmla="*/ 79 h 167"/>
                <a:gd name="T68" fmla="*/ 19 w 109"/>
                <a:gd name="T69" fmla="*/ 75 h 167"/>
                <a:gd name="T70" fmla="*/ 15 w 109"/>
                <a:gd name="T71" fmla="*/ 71 h 167"/>
                <a:gd name="T72" fmla="*/ 21 w 109"/>
                <a:gd name="T73" fmla="*/ 63 h 167"/>
                <a:gd name="T74" fmla="*/ 15 w 109"/>
                <a:gd name="T75" fmla="*/ 57 h 167"/>
                <a:gd name="T76" fmla="*/ 8 w 109"/>
                <a:gd name="T77" fmla="*/ 65 h 167"/>
                <a:gd name="T78" fmla="*/ 8 w 109"/>
                <a:gd name="T79" fmla="*/ 46 h 167"/>
                <a:gd name="T80" fmla="*/ 0 w 109"/>
                <a:gd name="T81" fmla="*/ 36 h 167"/>
                <a:gd name="T82" fmla="*/ 6 w 109"/>
                <a:gd name="T83" fmla="*/ 15 h 167"/>
                <a:gd name="T84" fmla="*/ 15 w 109"/>
                <a:gd name="T85" fmla="*/ 0 h 167"/>
                <a:gd name="T86" fmla="*/ 27 w 109"/>
                <a:gd name="T87" fmla="*/ 2 h 167"/>
                <a:gd name="T88" fmla="*/ 44 w 109"/>
                <a:gd name="T89" fmla="*/ 0 h 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09" h="167">
                  <a:moveTo>
                    <a:pt x="44" y="0"/>
                  </a:moveTo>
                  <a:lnTo>
                    <a:pt x="29" y="23"/>
                  </a:lnTo>
                  <a:lnTo>
                    <a:pt x="42" y="19"/>
                  </a:lnTo>
                  <a:lnTo>
                    <a:pt x="60" y="19"/>
                  </a:lnTo>
                  <a:lnTo>
                    <a:pt x="54" y="34"/>
                  </a:lnTo>
                  <a:lnTo>
                    <a:pt x="42" y="52"/>
                  </a:lnTo>
                  <a:lnTo>
                    <a:pt x="58" y="54"/>
                  </a:lnTo>
                  <a:lnTo>
                    <a:pt x="58" y="56"/>
                  </a:lnTo>
                  <a:lnTo>
                    <a:pt x="69" y="79"/>
                  </a:lnTo>
                  <a:lnTo>
                    <a:pt x="79" y="82"/>
                  </a:lnTo>
                  <a:lnTo>
                    <a:pt x="88" y="104"/>
                  </a:lnTo>
                  <a:lnTo>
                    <a:pt x="92" y="111"/>
                  </a:lnTo>
                  <a:lnTo>
                    <a:pt x="109" y="113"/>
                  </a:lnTo>
                  <a:lnTo>
                    <a:pt x="108" y="127"/>
                  </a:lnTo>
                  <a:lnTo>
                    <a:pt x="100" y="132"/>
                  </a:lnTo>
                  <a:lnTo>
                    <a:pt x="106" y="142"/>
                  </a:lnTo>
                  <a:lnTo>
                    <a:pt x="92" y="150"/>
                  </a:lnTo>
                  <a:lnTo>
                    <a:pt x="73" y="150"/>
                  </a:lnTo>
                  <a:lnTo>
                    <a:pt x="50" y="155"/>
                  </a:lnTo>
                  <a:lnTo>
                    <a:pt x="44" y="151"/>
                  </a:lnTo>
                  <a:lnTo>
                    <a:pt x="35" y="161"/>
                  </a:lnTo>
                  <a:lnTo>
                    <a:pt x="21" y="159"/>
                  </a:lnTo>
                  <a:lnTo>
                    <a:pt x="12" y="167"/>
                  </a:lnTo>
                  <a:lnTo>
                    <a:pt x="6" y="163"/>
                  </a:lnTo>
                  <a:lnTo>
                    <a:pt x="25" y="142"/>
                  </a:lnTo>
                  <a:lnTo>
                    <a:pt x="37" y="138"/>
                  </a:lnTo>
                  <a:lnTo>
                    <a:pt x="15" y="136"/>
                  </a:lnTo>
                  <a:lnTo>
                    <a:pt x="12" y="128"/>
                  </a:lnTo>
                  <a:lnTo>
                    <a:pt x="27" y="123"/>
                  </a:lnTo>
                  <a:lnTo>
                    <a:pt x="19" y="111"/>
                  </a:lnTo>
                  <a:lnTo>
                    <a:pt x="21" y="102"/>
                  </a:lnTo>
                  <a:lnTo>
                    <a:pt x="42" y="102"/>
                  </a:lnTo>
                  <a:lnTo>
                    <a:pt x="44" y="90"/>
                  </a:lnTo>
                  <a:lnTo>
                    <a:pt x="35" y="79"/>
                  </a:lnTo>
                  <a:lnTo>
                    <a:pt x="19" y="75"/>
                  </a:lnTo>
                  <a:lnTo>
                    <a:pt x="15" y="71"/>
                  </a:lnTo>
                  <a:lnTo>
                    <a:pt x="21" y="63"/>
                  </a:lnTo>
                  <a:lnTo>
                    <a:pt x="15" y="57"/>
                  </a:lnTo>
                  <a:lnTo>
                    <a:pt x="8" y="65"/>
                  </a:lnTo>
                  <a:lnTo>
                    <a:pt x="8" y="46"/>
                  </a:lnTo>
                  <a:lnTo>
                    <a:pt x="0" y="36"/>
                  </a:lnTo>
                  <a:lnTo>
                    <a:pt x="6" y="15"/>
                  </a:lnTo>
                  <a:lnTo>
                    <a:pt x="15" y="0"/>
                  </a:lnTo>
                  <a:lnTo>
                    <a:pt x="27" y="2"/>
                  </a:lnTo>
                  <a:lnTo>
                    <a:pt x="44" y="0"/>
                  </a:lnTo>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31" name="Freeform 161">
              <a:extLst>
                <a:ext uri="{FF2B5EF4-FFF2-40B4-BE49-F238E27FC236}">
                  <a16:creationId xmlns:a16="http://schemas.microsoft.com/office/drawing/2014/main" id="{103E63BF-ED63-0CE7-433E-0503971930DA}"/>
                </a:ext>
              </a:extLst>
            </p:cNvPr>
            <p:cNvSpPr>
              <a:spLocks/>
            </p:cNvSpPr>
            <p:nvPr/>
          </p:nvSpPr>
          <p:spPr bwMode="auto">
            <a:xfrm>
              <a:off x="2590801" y="2903867"/>
              <a:ext cx="23813" cy="28588"/>
            </a:xfrm>
            <a:custGeom>
              <a:avLst/>
              <a:gdLst>
                <a:gd name="T0" fmla="*/ 7 w 15"/>
                <a:gd name="T1" fmla="*/ 0 h 18"/>
                <a:gd name="T2" fmla="*/ 11 w 15"/>
                <a:gd name="T3" fmla="*/ 2 h 18"/>
                <a:gd name="T4" fmla="*/ 15 w 15"/>
                <a:gd name="T5" fmla="*/ 6 h 18"/>
                <a:gd name="T6" fmla="*/ 9 w 15"/>
                <a:gd name="T7" fmla="*/ 18 h 18"/>
                <a:gd name="T8" fmla="*/ 4 w 15"/>
                <a:gd name="T9" fmla="*/ 16 h 18"/>
                <a:gd name="T10" fmla="*/ 0 w 15"/>
                <a:gd name="T11" fmla="*/ 10 h 18"/>
                <a:gd name="T12" fmla="*/ 0 w 15"/>
                <a:gd name="T13" fmla="*/ 8 h 18"/>
                <a:gd name="T14" fmla="*/ 7 w 15"/>
                <a:gd name="T15" fmla="*/ 0 h 1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 h="18">
                  <a:moveTo>
                    <a:pt x="7" y="0"/>
                  </a:moveTo>
                  <a:lnTo>
                    <a:pt x="11" y="2"/>
                  </a:lnTo>
                  <a:lnTo>
                    <a:pt x="15" y="6"/>
                  </a:lnTo>
                  <a:lnTo>
                    <a:pt x="9" y="18"/>
                  </a:lnTo>
                  <a:lnTo>
                    <a:pt x="4" y="16"/>
                  </a:lnTo>
                  <a:lnTo>
                    <a:pt x="0" y="10"/>
                  </a:lnTo>
                  <a:lnTo>
                    <a:pt x="0" y="8"/>
                  </a:lnTo>
                  <a:lnTo>
                    <a:pt x="7" y="0"/>
                  </a:lnTo>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32" name="Freeform 163">
              <a:extLst>
                <a:ext uri="{FF2B5EF4-FFF2-40B4-BE49-F238E27FC236}">
                  <a16:creationId xmlns:a16="http://schemas.microsoft.com/office/drawing/2014/main" id="{55010924-02E8-2783-916A-764E4E4B233B}"/>
                </a:ext>
              </a:extLst>
            </p:cNvPr>
            <p:cNvSpPr>
              <a:spLocks/>
            </p:cNvSpPr>
            <p:nvPr/>
          </p:nvSpPr>
          <p:spPr bwMode="auto">
            <a:xfrm>
              <a:off x="2511427" y="2889574"/>
              <a:ext cx="46038" cy="23824"/>
            </a:xfrm>
            <a:custGeom>
              <a:avLst/>
              <a:gdLst>
                <a:gd name="T0" fmla="*/ 9 w 29"/>
                <a:gd name="T1" fmla="*/ 0 h 15"/>
                <a:gd name="T2" fmla="*/ 29 w 29"/>
                <a:gd name="T3" fmla="*/ 0 h 15"/>
                <a:gd name="T4" fmla="*/ 29 w 29"/>
                <a:gd name="T5" fmla="*/ 4 h 15"/>
                <a:gd name="T6" fmla="*/ 11 w 29"/>
                <a:gd name="T7" fmla="*/ 15 h 15"/>
                <a:gd name="T8" fmla="*/ 4 w 29"/>
                <a:gd name="T9" fmla="*/ 15 h 15"/>
                <a:gd name="T10" fmla="*/ 0 w 29"/>
                <a:gd name="T11" fmla="*/ 9 h 15"/>
                <a:gd name="T12" fmla="*/ 9 w 29"/>
                <a:gd name="T13" fmla="*/ 0 h 15"/>
              </a:gdLst>
              <a:ahLst/>
              <a:cxnLst>
                <a:cxn ang="0">
                  <a:pos x="T0" y="T1"/>
                </a:cxn>
                <a:cxn ang="0">
                  <a:pos x="T2" y="T3"/>
                </a:cxn>
                <a:cxn ang="0">
                  <a:pos x="T4" y="T5"/>
                </a:cxn>
                <a:cxn ang="0">
                  <a:pos x="T6" y="T7"/>
                </a:cxn>
                <a:cxn ang="0">
                  <a:pos x="T8" y="T9"/>
                </a:cxn>
                <a:cxn ang="0">
                  <a:pos x="T10" y="T11"/>
                </a:cxn>
                <a:cxn ang="0">
                  <a:pos x="T12" y="T13"/>
                </a:cxn>
              </a:cxnLst>
              <a:rect l="0" t="0" r="r" b="b"/>
              <a:pathLst>
                <a:path w="29" h="15">
                  <a:moveTo>
                    <a:pt x="9" y="0"/>
                  </a:moveTo>
                  <a:lnTo>
                    <a:pt x="29" y="0"/>
                  </a:lnTo>
                  <a:lnTo>
                    <a:pt x="29" y="4"/>
                  </a:lnTo>
                  <a:lnTo>
                    <a:pt x="11" y="15"/>
                  </a:lnTo>
                  <a:lnTo>
                    <a:pt x="4" y="15"/>
                  </a:lnTo>
                  <a:lnTo>
                    <a:pt x="0" y="9"/>
                  </a:lnTo>
                  <a:lnTo>
                    <a:pt x="9" y="0"/>
                  </a:lnTo>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33" name="Freeform 165">
              <a:extLst>
                <a:ext uri="{FF2B5EF4-FFF2-40B4-BE49-F238E27FC236}">
                  <a16:creationId xmlns:a16="http://schemas.microsoft.com/office/drawing/2014/main" id="{BC644052-273D-BD5B-73BE-4DB4C02384E5}"/>
                </a:ext>
              </a:extLst>
            </p:cNvPr>
            <p:cNvSpPr>
              <a:spLocks/>
            </p:cNvSpPr>
            <p:nvPr/>
          </p:nvSpPr>
          <p:spPr bwMode="auto">
            <a:xfrm>
              <a:off x="2441577" y="2787928"/>
              <a:ext cx="155575" cy="95293"/>
            </a:xfrm>
            <a:custGeom>
              <a:avLst/>
              <a:gdLst>
                <a:gd name="T0" fmla="*/ 17 w 98"/>
                <a:gd name="T1" fmla="*/ 0 h 60"/>
                <a:gd name="T2" fmla="*/ 27 w 98"/>
                <a:gd name="T3" fmla="*/ 2 h 60"/>
                <a:gd name="T4" fmla="*/ 30 w 98"/>
                <a:gd name="T5" fmla="*/ 12 h 60"/>
                <a:gd name="T6" fmla="*/ 38 w 98"/>
                <a:gd name="T7" fmla="*/ 8 h 60"/>
                <a:gd name="T8" fmla="*/ 46 w 98"/>
                <a:gd name="T9" fmla="*/ 14 h 60"/>
                <a:gd name="T10" fmla="*/ 61 w 98"/>
                <a:gd name="T11" fmla="*/ 21 h 60"/>
                <a:gd name="T12" fmla="*/ 77 w 98"/>
                <a:gd name="T13" fmla="*/ 29 h 60"/>
                <a:gd name="T14" fmla="*/ 77 w 98"/>
                <a:gd name="T15" fmla="*/ 41 h 60"/>
                <a:gd name="T16" fmla="*/ 86 w 98"/>
                <a:gd name="T17" fmla="*/ 39 h 60"/>
                <a:gd name="T18" fmla="*/ 98 w 98"/>
                <a:gd name="T19" fmla="*/ 46 h 60"/>
                <a:gd name="T20" fmla="*/ 86 w 98"/>
                <a:gd name="T21" fmla="*/ 52 h 60"/>
                <a:gd name="T22" fmla="*/ 63 w 98"/>
                <a:gd name="T23" fmla="*/ 46 h 60"/>
                <a:gd name="T24" fmla="*/ 55 w 98"/>
                <a:gd name="T25" fmla="*/ 37 h 60"/>
                <a:gd name="T26" fmla="*/ 42 w 98"/>
                <a:gd name="T27" fmla="*/ 48 h 60"/>
                <a:gd name="T28" fmla="*/ 21 w 98"/>
                <a:gd name="T29" fmla="*/ 60 h 60"/>
                <a:gd name="T30" fmla="*/ 17 w 98"/>
                <a:gd name="T31" fmla="*/ 46 h 60"/>
                <a:gd name="T32" fmla="*/ 0 w 98"/>
                <a:gd name="T33" fmla="*/ 48 h 60"/>
                <a:gd name="T34" fmla="*/ 9 w 98"/>
                <a:gd name="T35" fmla="*/ 39 h 60"/>
                <a:gd name="T36" fmla="*/ 11 w 98"/>
                <a:gd name="T37" fmla="*/ 20 h 60"/>
                <a:gd name="T38" fmla="*/ 17 w 98"/>
                <a:gd name="T39" fmla="*/ 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8" h="60">
                  <a:moveTo>
                    <a:pt x="17" y="0"/>
                  </a:moveTo>
                  <a:lnTo>
                    <a:pt x="27" y="2"/>
                  </a:lnTo>
                  <a:lnTo>
                    <a:pt x="30" y="12"/>
                  </a:lnTo>
                  <a:lnTo>
                    <a:pt x="38" y="8"/>
                  </a:lnTo>
                  <a:lnTo>
                    <a:pt x="46" y="14"/>
                  </a:lnTo>
                  <a:lnTo>
                    <a:pt x="61" y="21"/>
                  </a:lnTo>
                  <a:lnTo>
                    <a:pt x="77" y="29"/>
                  </a:lnTo>
                  <a:lnTo>
                    <a:pt x="77" y="41"/>
                  </a:lnTo>
                  <a:lnTo>
                    <a:pt x="86" y="39"/>
                  </a:lnTo>
                  <a:lnTo>
                    <a:pt x="98" y="46"/>
                  </a:lnTo>
                  <a:lnTo>
                    <a:pt x="86" y="52"/>
                  </a:lnTo>
                  <a:lnTo>
                    <a:pt x="63" y="46"/>
                  </a:lnTo>
                  <a:lnTo>
                    <a:pt x="55" y="37"/>
                  </a:lnTo>
                  <a:lnTo>
                    <a:pt x="42" y="48"/>
                  </a:lnTo>
                  <a:lnTo>
                    <a:pt x="21" y="60"/>
                  </a:lnTo>
                  <a:lnTo>
                    <a:pt x="17" y="46"/>
                  </a:lnTo>
                  <a:lnTo>
                    <a:pt x="0" y="48"/>
                  </a:lnTo>
                  <a:lnTo>
                    <a:pt x="9" y="39"/>
                  </a:lnTo>
                  <a:lnTo>
                    <a:pt x="11" y="20"/>
                  </a:lnTo>
                  <a:lnTo>
                    <a:pt x="17" y="0"/>
                  </a:lnTo>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34" name="Freeform 167">
              <a:extLst>
                <a:ext uri="{FF2B5EF4-FFF2-40B4-BE49-F238E27FC236}">
                  <a16:creationId xmlns:a16="http://schemas.microsoft.com/office/drawing/2014/main" id="{884AC4FF-EA27-D49F-0838-1D4C776546C8}"/>
                </a:ext>
              </a:extLst>
            </p:cNvPr>
            <p:cNvSpPr>
              <a:spLocks/>
            </p:cNvSpPr>
            <p:nvPr/>
          </p:nvSpPr>
          <p:spPr bwMode="auto">
            <a:xfrm>
              <a:off x="3830638" y="2757751"/>
              <a:ext cx="236538" cy="109588"/>
            </a:xfrm>
            <a:custGeom>
              <a:avLst/>
              <a:gdLst>
                <a:gd name="T0" fmla="*/ 113 w 149"/>
                <a:gd name="T1" fmla="*/ 0 h 69"/>
                <a:gd name="T2" fmla="*/ 136 w 149"/>
                <a:gd name="T3" fmla="*/ 2 h 69"/>
                <a:gd name="T4" fmla="*/ 132 w 149"/>
                <a:gd name="T5" fmla="*/ 17 h 69"/>
                <a:gd name="T6" fmla="*/ 149 w 149"/>
                <a:gd name="T7" fmla="*/ 33 h 69"/>
                <a:gd name="T8" fmla="*/ 132 w 149"/>
                <a:gd name="T9" fmla="*/ 50 h 69"/>
                <a:gd name="T10" fmla="*/ 92 w 149"/>
                <a:gd name="T11" fmla="*/ 65 h 69"/>
                <a:gd name="T12" fmla="*/ 78 w 149"/>
                <a:gd name="T13" fmla="*/ 69 h 69"/>
                <a:gd name="T14" fmla="*/ 61 w 149"/>
                <a:gd name="T15" fmla="*/ 65 h 69"/>
                <a:gd name="T16" fmla="*/ 21 w 149"/>
                <a:gd name="T17" fmla="*/ 60 h 69"/>
                <a:gd name="T18" fmla="*/ 36 w 149"/>
                <a:gd name="T19" fmla="*/ 50 h 69"/>
                <a:gd name="T20" fmla="*/ 4 w 149"/>
                <a:gd name="T21" fmla="*/ 37 h 69"/>
                <a:gd name="T22" fmla="*/ 29 w 149"/>
                <a:gd name="T23" fmla="*/ 35 h 69"/>
                <a:gd name="T24" fmla="*/ 29 w 149"/>
                <a:gd name="T25" fmla="*/ 27 h 69"/>
                <a:gd name="T26" fmla="*/ 0 w 149"/>
                <a:gd name="T27" fmla="*/ 23 h 69"/>
                <a:gd name="T28" fmla="*/ 9 w 149"/>
                <a:gd name="T29" fmla="*/ 8 h 69"/>
                <a:gd name="T30" fmla="*/ 30 w 149"/>
                <a:gd name="T31" fmla="*/ 4 h 69"/>
                <a:gd name="T32" fmla="*/ 53 w 149"/>
                <a:gd name="T33" fmla="*/ 19 h 69"/>
                <a:gd name="T34" fmla="*/ 73 w 149"/>
                <a:gd name="T35" fmla="*/ 6 h 69"/>
                <a:gd name="T36" fmla="*/ 92 w 149"/>
                <a:gd name="T37" fmla="*/ 12 h 69"/>
                <a:gd name="T38" fmla="*/ 113 w 149"/>
                <a:gd name="T39" fmla="*/ 0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9" h="69">
                  <a:moveTo>
                    <a:pt x="113" y="0"/>
                  </a:moveTo>
                  <a:lnTo>
                    <a:pt x="136" y="2"/>
                  </a:lnTo>
                  <a:lnTo>
                    <a:pt x="132" y="17"/>
                  </a:lnTo>
                  <a:lnTo>
                    <a:pt x="149" y="33"/>
                  </a:lnTo>
                  <a:lnTo>
                    <a:pt x="132" y="50"/>
                  </a:lnTo>
                  <a:lnTo>
                    <a:pt x="92" y="65"/>
                  </a:lnTo>
                  <a:lnTo>
                    <a:pt x="78" y="69"/>
                  </a:lnTo>
                  <a:lnTo>
                    <a:pt x="61" y="65"/>
                  </a:lnTo>
                  <a:lnTo>
                    <a:pt x="21" y="60"/>
                  </a:lnTo>
                  <a:lnTo>
                    <a:pt x="36" y="50"/>
                  </a:lnTo>
                  <a:lnTo>
                    <a:pt x="4" y="37"/>
                  </a:lnTo>
                  <a:lnTo>
                    <a:pt x="29" y="35"/>
                  </a:lnTo>
                  <a:lnTo>
                    <a:pt x="29" y="27"/>
                  </a:lnTo>
                  <a:lnTo>
                    <a:pt x="0" y="23"/>
                  </a:lnTo>
                  <a:lnTo>
                    <a:pt x="9" y="8"/>
                  </a:lnTo>
                  <a:lnTo>
                    <a:pt x="30" y="4"/>
                  </a:lnTo>
                  <a:lnTo>
                    <a:pt x="53" y="19"/>
                  </a:lnTo>
                  <a:lnTo>
                    <a:pt x="73" y="6"/>
                  </a:lnTo>
                  <a:lnTo>
                    <a:pt x="92" y="12"/>
                  </a:lnTo>
                  <a:lnTo>
                    <a:pt x="113" y="0"/>
                  </a:lnTo>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35" name="Freeform 169">
              <a:extLst>
                <a:ext uri="{FF2B5EF4-FFF2-40B4-BE49-F238E27FC236}">
                  <a16:creationId xmlns:a16="http://schemas.microsoft.com/office/drawing/2014/main" id="{5B3AA8B4-1C13-8143-42D5-6B4A581A4B92}"/>
                </a:ext>
              </a:extLst>
            </p:cNvPr>
            <p:cNvSpPr>
              <a:spLocks/>
            </p:cNvSpPr>
            <p:nvPr/>
          </p:nvSpPr>
          <p:spPr bwMode="auto">
            <a:xfrm>
              <a:off x="2660651" y="2694222"/>
              <a:ext cx="46038" cy="46059"/>
            </a:xfrm>
            <a:custGeom>
              <a:avLst/>
              <a:gdLst>
                <a:gd name="T0" fmla="*/ 17 w 29"/>
                <a:gd name="T1" fmla="*/ 0 h 29"/>
                <a:gd name="T2" fmla="*/ 29 w 29"/>
                <a:gd name="T3" fmla="*/ 6 h 29"/>
                <a:gd name="T4" fmla="*/ 29 w 29"/>
                <a:gd name="T5" fmla="*/ 11 h 29"/>
                <a:gd name="T6" fmla="*/ 29 w 29"/>
                <a:gd name="T7" fmla="*/ 15 h 29"/>
                <a:gd name="T8" fmla="*/ 27 w 29"/>
                <a:gd name="T9" fmla="*/ 19 h 29"/>
                <a:gd name="T10" fmla="*/ 17 w 29"/>
                <a:gd name="T11" fmla="*/ 27 h 29"/>
                <a:gd name="T12" fmla="*/ 4 w 29"/>
                <a:gd name="T13" fmla="*/ 29 h 29"/>
                <a:gd name="T14" fmla="*/ 0 w 29"/>
                <a:gd name="T15" fmla="*/ 15 h 29"/>
                <a:gd name="T16" fmla="*/ 4 w 29"/>
                <a:gd name="T17" fmla="*/ 2 h 29"/>
                <a:gd name="T18" fmla="*/ 17 w 29"/>
                <a:gd name="T19"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9" h="29">
                  <a:moveTo>
                    <a:pt x="17" y="0"/>
                  </a:moveTo>
                  <a:lnTo>
                    <a:pt x="29" y="6"/>
                  </a:lnTo>
                  <a:lnTo>
                    <a:pt x="29" y="11"/>
                  </a:lnTo>
                  <a:lnTo>
                    <a:pt x="29" y="15"/>
                  </a:lnTo>
                  <a:lnTo>
                    <a:pt x="27" y="19"/>
                  </a:lnTo>
                  <a:lnTo>
                    <a:pt x="17" y="27"/>
                  </a:lnTo>
                  <a:lnTo>
                    <a:pt x="4" y="29"/>
                  </a:lnTo>
                  <a:lnTo>
                    <a:pt x="0" y="15"/>
                  </a:lnTo>
                  <a:lnTo>
                    <a:pt x="4" y="2"/>
                  </a:lnTo>
                  <a:lnTo>
                    <a:pt x="17" y="0"/>
                  </a:lnTo>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36" name="Freeform 171">
              <a:extLst>
                <a:ext uri="{FF2B5EF4-FFF2-40B4-BE49-F238E27FC236}">
                  <a16:creationId xmlns:a16="http://schemas.microsoft.com/office/drawing/2014/main" id="{EF079304-78CA-32BA-2645-A0934BFF6285}"/>
                </a:ext>
              </a:extLst>
            </p:cNvPr>
            <p:cNvSpPr>
              <a:spLocks/>
            </p:cNvSpPr>
            <p:nvPr/>
          </p:nvSpPr>
          <p:spPr bwMode="auto">
            <a:xfrm>
              <a:off x="2160589" y="2621164"/>
              <a:ext cx="92075" cy="53999"/>
            </a:xfrm>
            <a:custGeom>
              <a:avLst/>
              <a:gdLst>
                <a:gd name="T0" fmla="*/ 21 w 58"/>
                <a:gd name="T1" fmla="*/ 0 h 34"/>
                <a:gd name="T2" fmla="*/ 37 w 58"/>
                <a:gd name="T3" fmla="*/ 7 h 34"/>
                <a:gd name="T4" fmla="*/ 44 w 58"/>
                <a:gd name="T5" fmla="*/ 11 h 34"/>
                <a:gd name="T6" fmla="*/ 50 w 58"/>
                <a:gd name="T7" fmla="*/ 17 h 34"/>
                <a:gd name="T8" fmla="*/ 58 w 58"/>
                <a:gd name="T9" fmla="*/ 25 h 34"/>
                <a:gd name="T10" fmla="*/ 50 w 58"/>
                <a:gd name="T11" fmla="*/ 34 h 34"/>
                <a:gd name="T12" fmla="*/ 31 w 58"/>
                <a:gd name="T13" fmla="*/ 27 h 34"/>
                <a:gd name="T14" fmla="*/ 19 w 58"/>
                <a:gd name="T15" fmla="*/ 29 h 34"/>
                <a:gd name="T16" fmla="*/ 0 w 58"/>
                <a:gd name="T17" fmla="*/ 19 h 34"/>
                <a:gd name="T18" fmla="*/ 12 w 58"/>
                <a:gd name="T19" fmla="*/ 9 h 34"/>
                <a:gd name="T20" fmla="*/ 21 w 58"/>
                <a:gd name="T21"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8" h="34">
                  <a:moveTo>
                    <a:pt x="21" y="0"/>
                  </a:moveTo>
                  <a:lnTo>
                    <a:pt x="37" y="7"/>
                  </a:lnTo>
                  <a:lnTo>
                    <a:pt x="44" y="11"/>
                  </a:lnTo>
                  <a:lnTo>
                    <a:pt x="50" y="17"/>
                  </a:lnTo>
                  <a:lnTo>
                    <a:pt x="58" y="25"/>
                  </a:lnTo>
                  <a:lnTo>
                    <a:pt x="50" y="34"/>
                  </a:lnTo>
                  <a:lnTo>
                    <a:pt x="31" y="27"/>
                  </a:lnTo>
                  <a:lnTo>
                    <a:pt x="19" y="29"/>
                  </a:lnTo>
                  <a:lnTo>
                    <a:pt x="0" y="19"/>
                  </a:lnTo>
                  <a:lnTo>
                    <a:pt x="12" y="9"/>
                  </a:lnTo>
                  <a:lnTo>
                    <a:pt x="21" y="0"/>
                  </a:lnTo>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37" name="Freeform 173">
              <a:extLst>
                <a:ext uri="{FF2B5EF4-FFF2-40B4-BE49-F238E27FC236}">
                  <a16:creationId xmlns:a16="http://schemas.microsoft.com/office/drawing/2014/main" id="{427E3AEC-A968-DE3C-D5B6-05ED32CB1C22}"/>
                </a:ext>
              </a:extLst>
            </p:cNvPr>
            <p:cNvSpPr>
              <a:spLocks/>
            </p:cNvSpPr>
            <p:nvPr/>
          </p:nvSpPr>
          <p:spPr bwMode="auto">
            <a:xfrm>
              <a:off x="8320087" y="2562401"/>
              <a:ext cx="82550" cy="31764"/>
            </a:xfrm>
            <a:custGeom>
              <a:avLst/>
              <a:gdLst>
                <a:gd name="T0" fmla="*/ 19 w 52"/>
                <a:gd name="T1" fmla="*/ 0 h 20"/>
                <a:gd name="T2" fmla="*/ 33 w 52"/>
                <a:gd name="T3" fmla="*/ 0 h 20"/>
                <a:gd name="T4" fmla="*/ 52 w 52"/>
                <a:gd name="T5" fmla="*/ 10 h 20"/>
                <a:gd name="T6" fmla="*/ 50 w 52"/>
                <a:gd name="T7" fmla="*/ 12 h 20"/>
                <a:gd name="T8" fmla="*/ 37 w 52"/>
                <a:gd name="T9" fmla="*/ 18 h 20"/>
                <a:gd name="T10" fmla="*/ 19 w 52"/>
                <a:gd name="T11" fmla="*/ 20 h 20"/>
                <a:gd name="T12" fmla="*/ 4 w 52"/>
                <a:gd name="T13" fmla="*/ 20 h 20"/>
                <a:gd name="T14" fmla="*/ 0 w 52"/>
                <a:gd name="T15" fmla="*/ 12 h 20"/>
                <a:gd name="T16" fmla="*/ 19 w 52"/>
                <a:gd name="T17" fmla="*/ 2 h 20"/>
                <a:gd name="T18" fmla="*/ 19 w 52"/>
                <a:gd name="T1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2" h="20">
                  <a:moveTo>
                    <a:pt x="19" y="0"/>
                  </a:moveTo>
                  <a:lnTo>
                    <a:pt x="33" y="0"/>
                  </a:lnTo>
                  <a:lnTo>
                    <a:pt x="52" y="10"/>
                  </a:lnTo>
                  <a:lnTo>
                    <a:pt x="50" y="12"/>
                  </a:lnTo>
                  <a:lnTo>
                    <a:pt x="37" y="18"/>
                  </a:lnTo>
                  <a:lnTo>
                    <a:pt x="19" y="20"/>
                  </a:lnTo>
                  <a:lnTo>
                    <a:pt x="4" y="20"/>
                  </a:lnTo>
                  <a:lnTo>
                    <a:pt x="0" y="12"/>
                  </a:lnTo>
                  <a:lnTo>
                    <a:pt x="19" y="2"/>
                  </a:lnTo>
                  <a:lnTo>
                    <a:pt x="19" y="0"/>
                  </a:lnTo>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38" name="Freeform 175">
              <a:extLst>
                <a:ext uri="{FF2B5EF4-FFF2-40B4-BE49-F238E27FC236}">
                  <a16:creationId xmlns:a16="http://schemas.microsoft.com/office/drawing/2014/main" id="{239C0785-7317-624F-AF6C-ECB378AE98DD}"/>
                </a:ext>
              </a:extLst>
            </p:cNvPr>
            <p:cNvSpPr>
              <a:spLocks/>
            </p:cNvSpPr>
            <p:nvPr/>
          </p:nvSpPr>
          <p:spPr bwMode="auto">
            <a:xfrm>
              <a:off x="649289" y="2548106"/>
              <a:ext cx="2952749" cy="3276493"/>
            </a:xfrm>
            <a:custGeom>
              <a:avLst/>
              <a:gdLst>
                <a:gd name="T0" fmla="*/ 1221 w 1860"/>
                <a:gd name="T1" fmla="*/ 1128 h 2063"/>
                <a:gd name="T2" fmla="*/ 1173 w 1860"/>
                <a:gd name="T3" fmla="*/ 1101 h 2063"/>
                <a:gd name="T4" fmla="*/ 1138 w 1860"/>
                <a:gd name="T5" fmla="*/ 1067 h 2063"/>
                <a:gd name="T6" fmla="*/ 1081 w 1860"/>
                <a:gd name="T7" fmla="*/ 1036 h 2063"/>
                <a:gd name="T8" fmla="*/ 927 w 1860"/>
                <a:gd name="T9" fmla="*/ 982 h 2063"/>
                <a:gd name="T10" fmla="*/ 864 w 1860"/>
                <a:gd name="T11" fmla="*/ 908 h 2063"/>
                <a:gd name="T12" fmla="*/ 766 w 1860"/>
                <a:gd name="T13" fmla="*/ 789 h 2063"/>
                <a:gd name="T14" fmla="*/ 778 w 1860"/>
                <a:gd name="T15" fmla="*/ 838 h 2063"/>
                <a:gd name="T16" fmla="*/ 787 w 1860"/>
                <a:gd name="T17" fmla="*/ 883 h 2063"/>
                <a:gd name="T18" fmla="*/ 733 w 1860"/>
                <a:gd name="T19" fmla="*/ 806 h 2063"/>
                <a:gd name="T20" fmla="*/ 636 w 1860"/>
                <a:gd name="T21" fmla="*/ 683 h 2063"/>
                <a:gd name="T22" fmla="*/ 607 w 1860"/>
                <a:gd name="T23" fmla="*/ 499 h 2063"/>
                <a:gd name="T24" fmla="*/ 524 w 1860"/>
                <a:gd name="T25" fmla="*/ 380 h 2063"/>
                <a:gd name="T26" fmla="*/ 279 w 1860"/>
                <a:gd name="T27" fmla="*/ 263 h 2063"/>
                <a:gd name="T28" fmla="*/ 179 w 1860"/>
                <a:gd name="T29" fmla="*/ 322 h 2063"/>
                <a:gd name="T30" fmla="*/ 106 w 1860"/>
                <a:gd name="T31" fmla="*/ 357 h 2063"/>
                <a:gd name="T32" fmla="*/ 87 w 1860"/>
                <a:gd name="T33" fmla="*/ 291 h 2063"/>
                <a:gd name="T34" fmla="*/ 104 w 1860"/>
                <a:gd name="T35" fmla="*/ 195 h 2063"/>
                <a:gd name="T36" fmla="*/ 60 w 1860"/>
                <a:gd name="T37" fmla="*/ 142 h 2063"/>
                <a:gd name="T38" fmla="*/ 162 w 1860"/>
                <a:gd name="T39" fmla="*/ 17 h 2063"/>
                <a:gd name="T40" fmla="*/ 426 w 1860"/>
                <a:gd name="T41" fmla="*/ 75 h 2063"/>
                <a:gd name="T42" fmla="*/ 634 w 1860"/>
                <a:gd name="T43" fmla="*/ 53 h 2063"/>
                <a:gd name="T44" fmla="*/ 854 w 1860"/>
                <a:gd name="T45" fmla="*/ 80 h 2063"/>
                <a:gd name="T46" fmla="*/ 1029 w 1860"/>
                <a:gd name="T47" fmla="*/ 73 h 2063"/>
                <a:gd name="T48" fmla="*/ 1127 w 1860"/>
                <a:gd name="T49" fmla="*/ 119 h 2063"/>
                <a:gd name="T50" fmla="*/ 1129 w 1860"/>
                <a:gd name="T51" fmla="*/ 163 h 2063"/>
                <a:gd name="T52" fmla="*/ 1102 w 1860"/>
                <a:gd name="T53" fmla="*/ 339 h 2063"/>
                <a:gd name="T54" fmla="*/ 1253 w 1860"/>
                <a:gd name="T55" fmla="*/ 374 h 2063"/>
                <a:gd name="T56" fmla="*/ 1348 w 1860"/>
                <a:gd name="T57" fmla="*/ 251 h 2063"/>
                <a:gd name="T58" fmla="*/ 1536 w 1860"/>
                <a:gd name="T59" fmla="*/ 378 h 2063"/>
                <a:gd name="T60" fmla="*/ 1388 w 1860"/>
                <a:gd name="T61" fmla="*/ 487 h 2063"/>
                <a:gd name="T62" fmla="*/ 1511 w 1860"/>
                <a:gd name="T63" fmla="*/ 543 h 2063"/>
                <a:gd name="T64" fmla="*/ 1355 w 1860"/>
                <a:gd name="T65" fmla="*/ 595 h 2063"/>
                <a:gd name="T66" fmla="*/ 1340 w 1860"/>
                <a:gd name="T67" fmla="*/ 627 h 2063"/>
                <a:gd name="T68" fmla="*/ 1284 w 1860"/>
                <a:gd name="T69" fmla="*/ 689 h 2063"/>
                <a:gd name="T70" fmla="*/ 1253 w 1860"/>
                <a:gd name="T71" fmla="*/ 739 h 2063"/>
                <a:gd name="T72" fmla="*/ 1227 w 1860"/>
                <a:gd name="T73" fmla="*/ 863 h 2063"/>
                <a:gd name="T74" fmla="*/ 1148 w 1860"/>
                <a:gd name="T75" fmla="*/ 798 h 2063"/>
                <a:gd name="T76" fmla="*/ 1044 w 1860"/>
                <a:gd name="T77" fmla="*/ 804 h 2063"/>
                <a:gd name="T78" fmla="*/ 985 w 1860"/>
                <a:gd name="T79" fmla="*/ 929 h 2063"/>
                <a:gd name="T80" fmla="*/ 1094 w 1860"/>
                <a:gd name="T81" fmla="*/ 931 h 2063"/>
                <a:gd name="T82" fmla="*/ 1113 w 1860"/>
                <a:gd name="T83" fmla="*/ 975 h 2063"/>
                <a:gd name="T84" fmla="*/ 1123 w 1860"/>
                <a:gd name="T85" fmla="*/ 1007 h 2063"/>
                <a:gd name="T86" fmla="*/ 1181 w 1860"/>
                <a:gd name="T87" fmla="*/ 1015 h 2063"/>
                <a:gd name="T88" fmla="*/ 1177 w 1860"/>
                <a:gd name="T89" fmla="*/ 1078 h 2063"/>
                <a:gd name="T90" fmla="*/ 1248 w 1860"/>
                <a:gd name="T91" fmla="*/ 1099 h 2063"/>
                <a:gd name="T92" fmla="*/ 1344 w 1860"/>
                <a:gd name="T93" fmla="*/ 1055 h 2063"/>
                <a:gd name="T94" fmla="*/ 1363 w 1860"/>
                <a:gd name="T95" fmla="*/ 1065 h 2063"/>
                <a:gd name="T96" fmla="*/ 1474 w 1860"/>
                <a:gd name="T97" fmla="*/ 1090 h 2063"/>
                <a:gd name="T98" fmla="*/ 1591 w 1860"/>
                <a:gd name="T99" fmla="*/ 1151 h 2063"/>
                <a:gd name="T100" fmla="*/ 1693 w 1860"/>
                <a:gd name="T101" fmla="*/ 1243 h 2063"/>
                <a:gd name="T102" fmla="*/ 1846 w 1860"/>
                <a:gd name="T103" fmla="*/ 1364 h 2063"/>
                <a:gd name="T104" fmla="*/ 1743 w 1860"/>
                <a:gd name="T105" fmla="*/ 1556 h 2063"/>
                <a:gd name="T106" fmla="*/ 1601 w 1860"/>
                <a:gd name="T107" fmla="*/ 1719 h 2063"/>
                <a:gd name="T108" fmla="*/ 1490 w 1860"/>
                <a:gd name="T109" fmla="*/ 1802 h 2063"/>
                <a:gd name="T110" fmla="*/ 1434 w 1860"/>
                <a:gd name="T111" fmla="*/ 1892 h 2063"/>
                <a:gd name="T112" fmla="*/ 1376 w 1860"/>
                <a:gd name="T113" fmla="*/ 2032 h 2063"/>
                <a:gd name="T114" fmla="*/ 1301 w 1860"/>
                <a:gd name="T115" fmla="*/ 1915 h 2063"/>
                <a:gd name="T116" fmla="*/ 1348 w 1860"/>
                <a:gd name="T117" fmla="*/ 1698 h 2063"/>
                <a:gd name="T118" fmla="*/ 1278 w 1860"/>
                <a:gd name="T119" fmla="*/ 1424 h 2063"/>
                <a:gd name="T120" fmla="*/ 1223 w 1860"/>
                <a:gd name="T121" fmla="*/ 1268 h 2063"/>
                <a:gd name="T122" fmla="*/ 1263 w 1860"/>
                <a:gd name="T123" fmla="*/ 1184 h 20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60" h="2063">
                  <a:moveTo>
                    <a:pt x="1257" y="1128"/>
                  </a:moveTo>
                  <a:lnTo>
                    <a:pt x="1253" y="1126"/>
                  </a:lnTo>
                  <a:lnTo>
                    <a:pt x="1250" y="1117"/>
                  </a:lnTo>
                  <a:lnTo>
                    <a:pt x="1253" y="1115"/>
                  </a:lnTo>
                  <a:lnTo>
                    <a:pt x="1250" y="1115"/>
                  </a:lnTo>
                  <a:lnTo>
                    <a:pt x="1246" y="1109"/>
                  </a:lnTo>
                  <a:lnTo>
                    <a:pt x="1240" y="1105"/>
                  </a:lnTo>
                  <a:lnTo>
                    <a:pt x="1234" y="1105"/>
                  </a:lnTo>
                  <a:lnTo>
                    <a:pt x="1232" y="1111"/>
                  </a:lnTo>
                  <a:lnTo>
                    <a:pt x="1227" y="1115"/>
                  </a:lnTo>
                  <a:lnTo>
                    <a:pt x="1223" y="1115"/>
                  </a:lnTo>
                  <a:lnTo>
                    <a:pt x="1221" y="1117"/>
                  </a:lnTo>
                  <a:lnTo>
                    <a:pt x="1229" y="1126"/>
                  </a:lnTo>
                  <a:lnTo>
                    <a:pt x="1225" y="1128"/>
                  </a:lnTo>
                  <a:lnTo>
                    <a:pt x="1221" y="1128"/>
                  </a:lnTo>
                  <a:lnTo>
                    <a:pt x="1215" y="1128"/>
                  </a:lnTo>
                  <a:lnTo>
                    <a:pt x="1213" y="1121"/>
                  </a:lnTo>
                  <a:lnTo>
                    <a:pt x="1211" y="1124"/>
                  </a:lnTo>
                  <a:lnTo>
                    <a:pt x="1206" y="1122"/>
                  </a:lnTo>
                  <a:lnTo>
                    <a:pt x="1206" y="1117"/>
                  </a:lnTo>
                  <a:lnTo>
                    <a:pt x="1198" y="1115"/>
                  </a:lnTo>
                  <a:lnTo>
                    <a:pt x="1194" y="1115"/>
                  </a:lnTo>
                  <a:lnTo>
                    <a:pt x="1188" y="1115"/>
                  </a:lnTo>
                  <a:lnTo>
                    <a:pt x="1188" y="1117"/>
                  </a:lnTo>
                  <a:lnTo>
                    <a:pt x="1186" y="1115"/>
                  </a:lnTo>
                  <a:lnTo>
                    <a:pt x="1179" y="1113"/>
                  </a:lnTo>
                  <a:lnTo>
                    <a:pt x="1177" y="1109"/>
                  </a:lnTo>
                  <a:lnTo>
                    <a:pt x="1177" y="1107"/>
                  </a:lnTo>
                  <a:lnTo>
                    <a:pt x="1177" y="1105"/>
                  </a:lnTo>
                  <a:lnTo>
                    <a:pt x="1173" y="1101"/>
                  </a:lnTo>
                  <a:lnTo>
                    <a:pt x="1167" y="1098"/>
                  </a:lnTo>
                  <a:lnTo>
                    <a:pt x="1163" y="1096"/>
                  </a:lnTo>
                  <a:lnTo>
                    <a:pt x="1163" y="1092"/>
                  </a:lnTo>
                  <a:lnTo>
                    <a:pt x="1159" y="1088"/>
                  </a:lnTo>
                  <a:lnTo>
                    <a:pt x="1159" y="1094"/>
                  </a:lnTo>
                  <a:lnTo>
                    <a:pt x="1156" y="1098"/>
                  </a:lnTo>
                  <a:lnTo>
                    <a:pt x="1154" y="1092"/>
                  </a:lnTo>
                  <a:lnTo>
                    <a:pt x="1148" y="1092"/>
                  </a:lnTo>
                  <a:lnTo>
                    <a:pt x="1148" y="1088"/>
                  </a:lnTo>
                  <a:lnTo>
                    <a:pt x="1148" y="1084"/>
                  </a:lnTo>
                  <a:lnTo>
                    <a:pt x="1148" y="1080"/>
                  </a:lnTo>
                  <a:lnTo>
                    <a:pt x="1144" y="1078"/>
                  </a:lnTo>
                  <a:lnTo>
                    <a:pt x="1148" y="1076"/>
                  </a:lnTo>
                  <a:lnTo>
                    <a:pt x="1144" y="1071"/>
                  </a:lnTo>
                  <a:lnTo>
                    <a:pt x="1138" y="1067"/>
                  </a:lnTo>
                  <a:lnTo>
                    <a:pt x="1135" y="1061"/>
                  </a:lnTo>
                  <a:lnTo>
                    <a:pt x="1129" y="1055"/>
                  </a:lnTo>
                  <a:lnTo>
                    <a:pt x="1121" y="1050"/>
                  </a:lnTo>
                  <a:lnTo>
                    <a:pt x="1123" y="1048"/>
                  </a:lnTo>
                  <a:lnTo>
                    <a:pt x="1125" y="1050"/>
                  </a:lnTo>
                  <a:lnTo>
                    <a:pt x="1127" y="1050"/>
                  </a:lnTo>
                  <a:lnTo>
                    <a:pt x="1125" y="1044"/>
                  </a:lnTo>
                  <a:lnTo>
                    <a:pt x="1119" y="1042"/>
                  </a:lnTo>
                  <a:lnTo>
                    <a:pt x="1117" y="1046"/>
                  </a:lnTo>
                  <a:lnTo>
                    <a:pt x="1110" y="1046"/>
                  </a:lnTo>
                  <a:lnTo>
                    <a:pt x="1104" y="1046"/>
                  </a:lnTo>
                  <a:lnTo>
                    <a:pt x="1100" y="1042"/>
                  </a:lnTo>
                  <a:lnTo>
                    <a:pt x="1090" y="1040"/>
                  </a:lnTo>
                  <a:lnTo>
                    <a:pt x="1087" y="1038"/>
                  </a:lnTo>
                  <a:lnTo>
                    <a:pt x="1081" y="1036"/>
                  </a:lnTo>
                  <a:lnTo>
                    <a:pt x="1071" y="1036"/>
                  </a:lnTo>
                  <a:lnTo>
                    <a:pt x="1065" y="1032"/>
                  </a:lnTo>
                  <a:lnTo>
                    <a:pt x="1058" y="1026"/>
                  </a:lnTo>
                  <a:lnTo>
                    <a:pt x="1042" y="1011"/>
                  </a:lnTo>
                  <a:lnTo>
                    <a:pt x="1035" y="1007"/>
                  </a:lnTo>
                  <a:lnTo>
                    <a:pt x="1025" y="1003"/>
                  </a:lnTo>
                  <a:lnTo>
                    <a:pt x="1016" y="1003"/>
                  </a:lnTo>
                  <a:lnTo>
                    <a:pt x="1004" y="1009"/>
                  </a:lnTo>
                  <a:lnTo>
                    <a:pt x="996" y="1011"/>
                  </a:lnTo>
                  <a:lnTo>
                    <a:pt x="987" y="1007"/>
                  </a:lnTo>
                  <a:lnTo>
                    <a:pt x="977" y="1003"/>
                  </a:lnTo>
                  <a:lnTo>
                    <a:pt x="964" y="998"/>
                  </a:lnTo>
                  <a:lnTo>
                    <a:pt x="954" y="996"/>
                  </a:lnTo>
                  <a:lnTo>
                    <a:pt x="939" y="988"/>
                  </a:lnTo>
                  <a:lnTo>
                    <a:pt x="927" y="982"/>
                  </a:lnTo>
                  <a:lnTo>
                    <a:pt x="922" y="979"/>
                  </a:lnTo>
                  <a:lnTo>
                    <a:pt x="916" y="977"/>
                  </a:lnTo>
                  <a:lnTo>
                    <a:pt x="900" y="973"/>
                  </a:lnTo>
                  <a:lnTo>
                    <a:pt x="895" y="967"/>
                  </a:lnTo>
                  <a:lnTo>
                    <a:pt x="881" y="959"/>
                  </a:lnTo>
                  <a:lnTo>
                    <a:pt x="874" y="948"/>
                  </a:lnTo>
                  <a:lnTo>
                    <a:pt x="870" y="942"/>
                  </a:lnTo>
                  <a:lnTo>
                    <a:pt x="875" y="940"/>
                  </a:lnTo>
                  <a:lnTo>
                    <a:pt x="874" y="936"/>
                  </a:lnTo>
                  <a:lnTo>
                    <a:pt x="877" y="934"/>
                  </a:lnTo>
                  <a:lnTo>
                    <a:pt x="877" y="931"/>
                  </a:lnTo>
                  <a:lnTo>
                    <a:pt x="877" y="927"/>
                  </a:lnTo>
                  <a:lnTo>
                    <a:pt x="872" y="923"/>
                  </a:lnTo>
                  <a:lnTo>
                    <a:pt x="870" y="915"/>
                  </a:lnTo>
                  <a:lnTo>
                    <a:pt x="864" y="908"/>
                  </a:lnTo>
                  <a:lnTo>
                    <a:pt x="854" y="894"/>
                  </a:lnTo>
                  <a:lnTo>
                    <a:pt x="839" y="883"/>
                  </a:lnTo>
                  <a:lnTo>
                    <a:pt x="833" y="873"/>
                  </a:lnTo>
                  <a:lnTo>
                    <a:pt x="820" y="867"/>
                  </a:lnTo>
                  <a:lnTo>
                    <a:pt x="818" y="863"/>
                  </a:lnTo>
                  <a:lnTo>
                    <a:pt x="820" y="854"/>
                  </a:lnTo>
                  <a:lnTo>
                    <a:pt x="814" y="850"/>
                  </a:lnTo>
                  <a:lnTo>
                    <a:pt x="804" y="842"/>
                  </a:lnTo>
                  <a:lnTo>
                    <a:pt x="801" y="833"/>
                  </a:lnTo>
                  <a:lnTo>
                    <a:pt x="793" y="831"/>
                  </a:lnTo>
                  <a:lnTo>
                    <a:pt x="787" y="823"/>
                  </a:lnTo>
                  <a:lnTo>
                    <a:pt x="780" y="817"/>
                  </a:lnTo>
                  <a:lnTo>
                    <a:pt x="778" y="812"/>
                  </a:lnTo>
                  <a:lnTo>
                    <a:pt x="772" y="800"/>
                  </a:lnTo>
                  <a:lnTo>
                    <a:pt x="766" y="789"/>
                  </a:lnTo>
                  <a:lnTo>
                    <a:pt x="766" y="781"/>
                  </a:lnTo>
                  <a:lnTo>
                    <a:pt x="757" y="777"/>
                  </a:lnTo>
                  <a:lnTo>
                    <a:pt x="751" y="777"/>
                  </a:lnTo>
                  <a:lnTo>
                    <a:pt x="743" y="773"/>
                  </a:lnTo>
                  <a:lnTo>
                    <a:pt x="741" y="779"/>
                  </a:lnTo>
                  <a:lnTo>
                    <a:pt x="743" y="787"/>
                  </a:lnTo>
                  <a:lnTo>
                    <a:pt x="745" y="798"/>
                  </a:lnTo>
                  <a:lnTo>
                    <a:pt x="751" y="804"/>
                  </a:lnTo>
                  <a:lnTo>
                    <a:pt x="760" y="815"/>
                  </a:lnTo>
                  <a:lnTo>
                    <a:pt x="762" y="819"/>
                  </a:lnTo>
                  <a:lnTo>
                    <a:pt x="764" y="819"/>
                  </a:lnTo>
                  <a:lnTo>
                    <a:pt x="766" y="825"/>
                  </a:lnTo>
                  <a:lnTo>
                    <a:pt x="770" y="823"/>
                  </a:lnTo>
                  <a:lnTo>
                    <a:pt x="772" y="833"/>
                  </a:lnTo>
                  <a:lnTo>
                    <a:pt x="778" y="838"/>
                  </a:lnTo>
                  <a:lnTo>
                    <a:pt x="780" y="842"/>
                  </a:lnTo>
                  <a:lnTo>
                    <a:pt x="787" y="850"/>
                  </a:lnTo>
                  <a:lnTo>
                    <a:pt x="793" y="865"/>
                  </a:lnTo>
                  <a:lnTo>
                    <a:pt x="797" y="869"/>
                  </a:lnTo>
                  <a:lnTo>
                    <a:pt x="799" y="879"/>
                  </a:lnTo>
                  <a:lnTo>
                    <a:pt x="801" y="884"/>
                  </a:lnTo>
                  <a:lnTo>
                    <a:pt x="808" y="886"/>
                  </a:lnTo>
                  <a:lnTo>
                    <a:pt x="814" y="894"/>
                  </a:lnTo>
                  <a:lnTo>
                    <a:pt x="818" y="898"/>
                  </a:lnTo>
                  <a:lnTo>
                    <a:pt x="818" y="902"/>
                  </a:lnTo>
                  <a:lnTo>
                    <a:pt x="812" y="908"/>
                  </a:lnTo>
                  <a:lnTo>
                    <a:pt x="810" y="908"/>
                  </a:lnTo>
                  <a:lnTo>
                    <a:pt x="806" y="898"/>
                  </a:lnTo>
                  <a:lnTo>
                    <a:pt x="797" y="890"/>
                  </a:lnTo>
                  <a:lnTo>
                    <a:pt x="787" y="883"/>
                  </a:lnTo>
                  <a:lnTo>
                    <a:pt x="780" y="879"/>
                  </a:lnTo>
                  <a:lnTo>
                    <a:pt x="780" y="869"/>
                  </a:lnTo>
                  <a:lnTo>
                    <a:pt x="778" y="860"/>
                  </a:lnTo>
                  <a:lnTo>
                    <a:pt x="772" y="856"/>
                  </a:lnTo>
                  <a:lnTo>
                    <a:pt x="760" y="848"/>
                  </a:lnTo>
                  <a:lnTo>
                    <a:pt x="760" y="850"/>
                  </a:lnTo>
                  <a:lnTo>
                    <a:pt x="757" y="846"/>
                  </a:lnTo>
                  <a:lnTo>
                    <a:pt x="749" y="842"/>
                  </a:lnTo>
                  <a:lnTo>
                    <a:pt x="739" y="835"/>
                  </a:lnTo>
                  <a:lnTo>
                    <a:pt x="741" y="833"/>
                  </a:lnTo>
                  <a:lnTo>
                    <a:pt x="747" y="835"/>
                  </a:lnTo>
                  <a:lnTo>
                    <a:pt x="751" y="829"/>
                  </a:lnTo>
                  <a:lnTo>
                    <a:pt x="753" y="821"/>
                  </a:lnTo>
                  <a:lnTo>
                    <a:pt x="741" y="812"/>
                  </a:lnTo>
                  <a:lnTo>
                    <a:pt x="733" y="806"/>
                  </a:lnTo>
                  <a:lnTo>
                    <a:pt x="728" y="798"/>
                  </a:lnTo>
                  <a:lnTo>
                    <a:pt x="722" y="789"/>
                  </a:lnTo>
                  <a:lnTo>
                    <a:pt x="716" y="775"/>
                  </a:lnTo>
                  <a:lnTo>
                    <a:pt x="712" y="762"/>
                  </a:lnTo>
                  <a:lnTo>
                    <a:pt x="709" y="754"/>
                  </a:lnTo>
                  <a:lnTo>
                    <a:pt x="699" y="744"/>
                  </a:lnTo>
                  <a:lnTo>
                    <a:pt x="693" y="742"/>
                  </a:lnTo>
                  <a:lnTo>
                    <a:pt x="691" y="739"/>
                  </a:lnTo>
                  <a:lnTo>
                    <a:pt x="684" y="739"/>
                  </a:lnTo>
                  <a:lnTo>
                    <a:pt x="680" y="733"/>
                  </a:lnTo>
                  <a:lnTo>
                    <a:pt x="666" y="731"/>
                  </a:lnTo>
                  <a:lnTo>
                    <a:pt x="662" y="729"/>
                  </a:lnTo>
                  <a:lnTo>
                    <a:pt x="661" y="719"/>
                  </a:lnTo>
                  <a:lnTo>
                    <a:pt x="647" y="704"/>
                  </a:lnTo>
                  <a:lnTo>
                    <a:pt x="636" y="683"/>
                  </a:lnTo>
                  <a:lnTo>
                    <a:pt x="636" y="677"/>
                  </a:lnTo>
                  <a:lnTo>
                    <a:pt x="630" y="673"/>
                  </a:lnTo>
                  <a:lnTo>
                    <a:pt x="618" y="660"/>
                  </a:lnTo>
                  <a:lnTo>
                    <a:pt x="616" y="646"/>
                  </a:lnTo>
                  <a:lnTo>
                    <a:pt x="609" y="637"/>
                  </a:lnTo>
                  <a:lnTo>
                    <a:pt x="613" y="623"/>
                  </a:lnTo>
                  <a:lnTo>
                    <a:pt x="613" y="610"/>
                  </a:lnTo>
                  <a:lnTo>
                    <a:pt x="607" y="595"/>
                  </a:lnTo>
                  <a:lnTo>
                    <a:pt x="613" y="581"/>
                  </a:lnTo>
                  <a:lnTo>
                    <a:pt x="616" y="564"/>
                  </a:lnTo>
                  <a:lnTo>
                    <a:pt x="616" y="549"/>
                  </a:lnTo>
                  <a:lnTo>
                    <a:pt x="615" y="526"/>
                  </a:lnTo>
                  <a:lnTo>
                    <a:pt x="609" y="510"/>
                  </a:lnTo>
                  <a:lnTo>
                    <a:pt x="607" y="503"/>
                  </a:lnTo>
                  <a:lnTo>
                    <a:pt x="607" y="499"/>
                  </a:lnTo>
                  <a:lnTo>
                    <a:pt x="628" y="506"/>
                  </a:lnTo>
                  <a:lnTo>
                    <a:pt x="634" y="522"/>
                  </a:lnTo>
                  <a:lnTo>
                    <a:pt x="638" y="518"/>
                  </a:lnTo>
                  <a:lnTo>
                    <a:pt x="636" y="503"/>
                  </a:lnTo>
                  <a:lnTo>
                    <a:pt x="632" y="489"/>
                  </a:lnTo>
                  <a:lnTo>
                    <a:pt x="630" y="487"/>
                  </a:lnTo>
                  <a:lnTo>
                    <a:pt x="603" y="472"/>
                  </a:lnTo>
                  <a:lnTo>
                    <a:pt x="591" y="462"/>
                  </a:lnTo>
                  <a:lnTo>
                    <a:pt x="568" y="455"/>
                  </a:lnTo>
                  <a:lnTo>
                    <a:pt x="559" y="439"/>
                  </a:lnTo>
                  <a:lnTo>
                    <a:pt x="563" y="428"/>
                  </a:lnTo>
                  <a:lnTo>
                    <a:pt x="544" y="418"/>
                  </a:lnTo>
                  <a:lnTo>
                    <a:pt x="542" y="405"/>
                  </a:lnTo>
                  <a:lnTo>
                    <a:pt x="524" y="389"/>
                  </a:lnTo>
                  <a:lnTo>
                    <a:pt x="524" y="380"/>
                  </a:lnTo>
                  <a:lnTo>
                    <a:pt x="517" y="374"/>
                  </a:lnTo>
                  <a:lnTo>
                    <a:pt x="503" y="368"/>
                  </a:lnTo>
                  <a:lnTo>
                    <a:pt x="501" y="349"/>
                  </a:lnTo>
                  <a:lnTo>
                    <a:pt x="482" y="334"/>
                  </a:lnTo>
                  <a:lnTo>
                    <a:pt x="474" y="314"/>
                  </a:lnTo>
                  <a:lnTo>
                    <a:pt x="463" y="313"/>
                  </a:lnTo>
                  <a:lnTo>
                    <a:pt x="440" y="313"/>
                  </a:lnTo>
                  <a:lnTo>
                    <a:pt x="425" y="307"/>
                  </a:lnTo>
                  <a:lnTo>
                    <a:pt x="396" y="286"/>
                  </a:lnTo>
                  <a:lnTo>
                    <a:pt x="382" y="282"/>
                  </a:lnTo>
                  <a:lnTo>
                    <a:pt x="357" y="274"/>
                  </a:lnTo>
                  <a:lnTo>
                    <a:pt x="338" y="276"/>
                  </a:lnTo>
                  <a:lnTo>
                    <a:pt x="309" y="266"/>
                  </a:lnTo>
                  <a:lnTo>
                    <a:pt x="294" y="259"/>
                  </a:lnTo>
                  <a:lnTo>
                    <a:pt x="279" y="263"/>
                  </a:lnTo>
                  <a:lnTo>
                    <a:pt x="283" y="276"/>
                  </a:lnTo>
                  <a:lnTo>
                    <a:pt x="273" y="278"/>
                  </a:lnTo>
                  <a:lnTo>
                    <a:pt x="258" y="282"/>
                  </a:lnTo>
                  <a:lnTo>
                    <a:pt x="244" y="290"/>
                  </a:lnTo>
                  <a:lnTo>
                    <a:pt x="229" y="293"/>
                  </a:lnTo>
                  <a:lnTo>
                    <a:pt x="229" y="282"/>
                  </a:lnTo>
                  <a:lnTo>
                    <a:pt x="235" y="263"/>
                  </a:lnTo>
                  <a:lnTo>
                    <a:pt x="248" y="255"/>
                  </a:lnTo>
                  <a:lnTo>
                    <a:pt x="244" y="249"/>
                  </a:lnTo>
                  <a:lnTo>
                    <a:pt x="227" y="263"/>
                  </a:lnTo>
                  <a:lnTo>
                    <a:pt x="219" y="274"/>
                  </a:lnTo>
                  <a:lnTo>
                    <a:pt x="198" y="290"/>
                  </a:lnTo>
                  <a:lnTo>
                    <a:pt x="208" y="301"/>
                  </a:lnTo>
                  <a:lnTo>
                    <a:pt x="194" y="313"/>
                  </a:lnTo>
                  <a:lnTo>
                    <a:pt x="179" y="322"/>
                  </a:lnTo>
                  <a:lnTo>
                    <a:pt x="166" y="328"/>
                  </a:lnTo>
                  <a:lnTo>
                    <a:pt x="162" y="338"/>
                  </a:lnTo>
                  <a:lnTo>
                    <a:pt x="141" y="349"/>
                  </a:lnTo>
                  <a:lnTo>
                    <a:pt x="137" y="357"/>
                  </a:lnTo>
                  <a:lnTo>
                    <a:pt x="119" y="366"/>
                  </a:lnTo>
                  <a:lnTo>
                    <a:pt x="112" y="364"/>
                  </a:lnTo>
                  <a:lnTo>
                    <a:pt x="96" y="368"/>
                  </a:lnTo>
                  <a:lnTo>
                    <a:pt x="83" y="376"/>
                  </a:lnTo>
                  <a:lnTo>
                    <a:pt x="71" y="382"/>
                  </a:lnTo>
                  <a:lnTo>
                    <a:pt x="48" y="387"/>
                  </a:lnTo>
                  <a:lnTo>
                    <a:pt x="45" y="385"/>
                  </a:lnTo>
                  <a:lnTo>
                    <a:pt x="58" y="376"/>
                  </a:lnTo>
                  <a:lnTo>
                    <a:pt x="75" y="370"/>
                  </a:lnTo>
                  <a:lnTo>
                    <a:pt x="89" y="359"/>
                  </a:lnTo>
                  <a:lnTo>
                    <a:pt x="106" y="357"/>
                  </a:lnTo>
                  <a:lnTo>
                    <a:pt x="114" y="349"/>
                  </a:lnTo>
                  <a:lnTo>
                    <a:pt x="133" y="338"/>
                  </a:lnTo>
                  <a:lnTo>
                    <a:pt x="137" y="334"/>
                  </a:lnTo>
                  <a:lnTo>
                    <a:pt x="146" y="326"/>
                  </a:lnTo>
                  <a:lnTo>
                    <a:pt x="148" y="311"/>
                  </a:lnTo>
                  <a:lnTo>
                    <a:pt x="156" y="299"/>
                  </a:lnTo>
                  <a:lnTo>
                    <a:pt x="139" y="305"/>
                  </a:lnTo>
                  <a:lnTo>
                    <a:pt x="135" y="301"/>
                  </a:lnTo>
                  <a:lnTo>
                    <a:pt x="127" y="309"/>
                  </a:lnTo>
                  <a:lnTo>
                    <a:pt x="118" y="299"/>
                  </a:lnTo>
                  <a:lnTo>
                    <a:pt x="114" y="305"/>
                  </a:lnTo>
                  <a:lnTo>
                    <a:pt x="110" y="295"/>
                  </a:lnTo>
                  <a:lnTo>
                    <a:pt x="96" y="303"/>
                  </a:lnTo>
                  <a:lnTo>
                    <a:pt x="87" y="303"/>
                  </a:lnTo>
                  <a:lnTo>
                    <a:pt x="87" y="291"/>
                  </a:lnTo>
                  <a:lnTo>
                    <a:pt x="87" y="284"/>
                  </a:lnTo>
                  <a:lnTo>
                    <a:pt x="79" y="276"/>
                  </a:lnTo>
                  <a:lnTo>
                    <a:pt x="60" y="280"/>
                  </a:lnTo>
                  <a:lnTo>
                    <a:pt x="48" y="270"/>
                  </a:lnTo>
                  <a:lnTo>
                    <a:pt x="39" y="265"/>
                  </a:lnTo>
                  <a:lnTo>
                    <a:pt x="39" y="253"/>
                  </a:lnTo>
                  <a:lnTo>
                    <a:pt x="29" y="245"/>
                  </a:lnTo>
                  <a:lnTo>
                    <a:pt x="35" y="232"/>
                  </a:lnTo>
                  <a:lnTo>
                    <a:pt x="47" y="220"/>
                  </a:lnTo>
                  <a:lnTo>
                    <a:pt x="50" y="209"/>
                  </a:lnTo>
                  <a:lnTo>
                    <a:pt x="60" y="207"/>
                  </a:lnTo>
                  <a:lnTo>
                    <a:pt x="71" y="211"/>
                  </a:lnTo>
                  <a:lnTo>
                    <a:pt x="83" y="199"/>
                  </a:lnTo>
                  <a:lnTo>
                    <a:pt x="93" y="201"/>
                  </a:lnTo>
                  <a:lnTo>
                    <a:pt x="104" y="195"/>
                  </a:lnTo>
                  <a:lnTo>
                    <a:pt x="100" y="184"/>
                  </a:lnTo>
                  <a:lnTo>
                    <a:pt x="93" y="182"/>
                  </a:lnTo>
                  <a:lnTo>
                    <a:pt x="104" y="172"/>
                  </a:lnTo>
                  <a:lnTo>
                    <a:pt x="95" y="172"/>
                  </a:lnTo>
                  <a:lnTo>
                    <a:pt x="79" y="178"/>
                  </a:lnTo>
                  <a:lnTo>
                    <a:pt x="77" y="182"/>
                  </a:lnTo>
                  <a:lnTo>
                    <a:pt x="64" y="178"/>
                  </a:lnTo>
                  <a:lnTo>
                    <a:pt x="45" y="180"/>
                  </a:lnTo>
                  <a:lnTo>
                    <a:pt x="24" y="174"/>
                  </a:lnTo>
                  <a:lnTo>
                    <a:pt x="20" y="167"/>
                  </a:lnTo>
                  <a:lnTo>
                    <a:pt x="0" y="153"/>
                  </a:lnTo>
                  <a:lnTo>
                    <a:pt x="20" y="142"/>
                  </a:lnTo>
                  <a:lnTo>
                    <a:pt x="50" y="132"/>
                  </a:lnTo>
                  <a:lnTo>
                    <a:pt x="62" y="132"/>
                  </a:lnTo>
                  <a:lnTo>
                    <a:pt x="60" y="142"/>
                  </a:lnTo>
                  <a:lnTo>
                    <a:pt x="91" y="142"/>
                  </a:lnTo>
                  <a:lnTo>
                    <a:pt x="79" y="128"/>
                  </a:lnTo>
                  <a:lnTo>
                    <a:pt x="62" y="121"/>
                  </a:lnTo>
                  <a:lnTo>
                    <a:pt x="52" y="107"/>
                  </a:lnTo>
                  <a:lnTo>
                    <a:pt x="39" y="98"/>
                  </a:lnTo>
                  <a:lnTo>
                    <a:pt x="20" y="90"/>
                  </a:lnTo>
                  <a:lnTo>
                    <a:pt x="27" y="76"/>
                  </a:lnTo>
                  <a:lnTo>
                    <a:pt x="52" y="76"/>
                  </a:lnTo>
                  <a:lnTo>
                    <a:pt x="70" y="65"/>
                  </a:lnTo>
                  <a:lnTo>
                    <a:pt x="73" y="53"/>
                  </a:lnTo>
                  <a:lnTo>
                    <a:pt x="87" y="40"/>
                  </a:lnTo>
                  <a:lnTo>
                    <a:pt x="100" y="38"/>
                  </a:lnTo>
                  <a:lnTo>
                    <a:pt x="127" y="27"/>
                  </a:lnTo>
                  <a:lnTo>
                    <a:pt x="141" y="29"/>
                  </a:lnTo>
                  <a:lnTo>
                    <a:pt x="162" y="17"/>
                  </a:lnTo>
                  <a:lnTo>
                    <a:pt x="183" y="21"/>
                  </a:lnTo>
                  <a:lnTo>
                    <a:pt x="192" y="32"/>
                  </a:lnTo>
                  <a:lnTo>
                    <a:pt x="200" y="27"/>
                  </a:lnTo>
                  <a:lnTo>
                    <a:pt x="223" y="29"/>
                  </a:lnTo>
                  <a:lnTo>
                    <a:pt x="221" y="34"/>
                  </a:lnTo>
                  <a:lnTo>
                    <a:pt x="242" y="38"/>
                  </a:lnTo>
                  <a:lnTo>
                    <a:pt x="258" y="36"/>
                  </a:lnTo>
                  <a:lnTo>
                    <a:pt x="286" y="44"/>
                  </a:lnTo>
                  <a:lnTo>
                    <a:pt x="313" y="46"/>
                  </a:lnTo>
                  <a:lnTo>
                    <a:pt x="325" y="50"/>
                  </a:lnTo>
                  <a:lnTo>
                    <a:pt x="344" y="46"/>
                  </a:lnTo>
                  <a:lnTo>
                    <a:pt x="363" y="53"/>
                  </a:lnTo>
                  <a:lnTo>
                    <a:pt x="378" y="55"/>
                  </a:lnTo>
                  <a:lnTo>
                    <a:pt x="405" y="63"/>
                  </a:lnTo>
                  <a:lnTo>
                    <a:pt x="426" y="75"/>
                  </a:lnTo>
                  <a:lnTo>
                    <a:pt x="442" y="76"/>
                  </a:lnTo>
                  <a:lnTo>
                    <a:pt x="453" y="65"/>
                  </a:lnTo>
                  <a:lnTo>
                    <a:pt x="471" y="59"/>
                  </a:lnTo>
                  <a:lnTo>
                    <a:pt x="490" y="61"/>
                  </a:lnTo>
                  <a:lnTo>
                    <a:pt x="513" y="52"/>
                  </a:lnTo>
                  <a:lnTo>
                    <a:pt x="534" y="44"/>
                  </a:lnTo>
                  <a:lnTo>
                    <a:pt x="544" y="55"/>
                  </a:lnTo>
                  <a:lnTo>
                    <a:pt x="553" y="50"/>
                  </a:lnTo>
                  <a:lnTo>
                    <a:pt x="557" y="38"/>
                  </a:lnTo>
                  <a:lnTo>
                    <a:pt x="568" y="38"/>
                  </a:lnTo>
                  <a:lnTo>
                    <a:pt x="591" y="63"/>
                  </a:lnTo>
                  <a:lnTo>
                    <a:pt x="609" y="46"/>
                  </a:lnTo>
                  <a:lnTo>
                    <a:pt x="611" y="65"/>
                  </a:lnTo>
                  <a:lnTo>
                    <a:pt x="628" y="59"/>
                  </a:lnTo>
                  <a:lnTo>
                    <a:pt x="634" y="53"/>
                  </a:lnTo>
                  <a:lnTo>
                    <a:pt x="651" y="55"/>
                  </a:lnTo>
                  <a:lnTo>
                    <a:pt x="672" y="65"/>
                  </a:lnTo>
                  <a:lnTo>
                    <a:pt x="705" y="75"/>
                  </a:lnTo>
                  <a:lnTo>
                    <a:pt x="722" y="78"/>
                  </a:lnTo>
                  <a:lnTo>
                    <a:pt x="737" y="76"/>
                  </a:lnTo>
                  <a:lnTo>
                    <a:pt x="757" y="88"/>
                  </a:lnTo>
                  <a:lnTo>
                    <a:pt x="737" y="101"/>
                  </a:lnTo>
                  <a:lnTo>
                    <a:pt x="760" y="105"/>
                  </a:lnTo>
                  <a:lnTo>
                    <a:pt x="799" y="103"/>
                  </a:lnTo>
                  <a:lnTo>
                    <a:pt x="812" y="98"/>
                  </a:lnTo>
                  <a:lnTo>
                    <a:pt x="826" y="113"/>
                  </a:lnTo>
                  <a:lnTo>
                    <a:pt x="841" y="101"/>
                  </a:lnTo>
                  <a:lnTo>
                    <a:pt x="826" y="92"/>
                  </a:lnTo>
                  <a:lnTo>
                    <a:pt x="835" y="82"/>
                  </a:lnTo>
                  <a:lnTo>
                    <a:pt x="854" y="80"/>
                  </a:lnTo>
                  <a:lnTo>
                    <a:pt x="864" y="80"/>
                  </a:lnTo>
                  <a:lnTo>
                    <a:pt x="875" y="84"/>
                  </a:lnTo>
                  <a:lnTo>
                    <a:pt x="889" y="98"/>
                  </a:lnTo>
                  <a:lnTo>
                    <a:pt x="904" y="96"/>
                  </a:lnTo>
                  <a:lnTo>
                    <a:pt x="929" y="105"/>
                  </a:lnTo>
                  <a:lnTo>
                    <a:pt x="950" y="103"/>
                  </a:lnTo>
                  <a:lnTo>
                    <a:pt x="970" y="103"/>
                  </a:lnTo>
                  <a:lnTo>
                    <a:pt x="968" y="88"/>
                  </a:lnTo>
                  <a:lnTo>
                    <a:pt x="983" y="84"/>
                  </a:lnTo>
                  <a:lnTo>
                    <a:pt x="1004" y="94"/>
                  </a:lnTo>
                  <a:lnTo>
                    <a:pt x="1004" y="103"/>
                  </a:lnTo>
                  <a:lnTo>
                    <a:pt x="1004" y="115"/>
                  </a:lnTo>
                  <a:lnTo>
                    <a:pt x="1012" y="96"/>
                  </a:lnTo>
                  <a:lnTo>
                    <a:pt x="1025" y="96"/>
                  </a:lnTo>
                  <a:lnTo>
                    <a:pt x="1029" y="73"/>
                  </a:lnTo>
                  <a:lnTo>
                    <a:pt x="1016" y="57"/>
                  </a:lnTo>
                  <a:lnTo>
                    <a:pt x="998" y="48"/>
                  </a:lnTo>
                  <a:lnTo>
                    <a:pt x="1000" y="19"/>
                  </a:lnTo>
                  <a:lnTo>
                    <a:pt x="1016" y="0"/>
                  </a:lnTo>
                  <a:lnTo>
                    <a:pt x="1035" y="4"/>
                  </a:lnTo>
                  <a:lnTo>
                    <a:pt x="1048" y="17"/>
                  </a:lnTo>
                  <a:lnTo>
                    <a:pt x="1067" y="44"/>
                  </a:lnTo>
                  <a:lnTo>
                    <a:pt x="1056" y="55"/>
                  </a:lnTo>
                  <a:lnTo>
                    <a:pt x="1081" y="61"/>
                  </a:lnTo>
                  <a:lnTo>
                    <a:pt x="1081" y="75"/>
                  </a:lnTo>
                  <a:lnTo>
                    <a:pt x="1081" y="86"/>
                  </a:lnTo>
                  <a:lnTo>
                    <a:pt x="1100" y="67"/>
                  </a:lnTo>
                  <a:lnTo>
                    <a:pt x="1115" y="82"/>
                  </a:lnTo>
                  <a:lnTo>
                    <a:pt x="1111" y="101"/>
                  </a:lnTo>
                  <a:lnTo>
                    <a:pt x="1127" y="119"/>
                  </a:lnTo>
                  <a:lnTo>
                    <a:pt x="1138" y="100"/>
                  </a:lnTo>
                  <a:lnTo>
                    <a:pt x="1150" y="80"/>
                  </a:lnTo>
                  <a:lnTo>
                    <a:pt x="1150" y="53"/>
                  </a:lnTo>
                  <a:lnTo>
                    <a:pt x="1171" y="55"/>
                  </a:lnTo>
                  <a:lnTo>
                    <a:pt x="1190" y="57"/>
                  </a:lnTo>
                  <a:lnTo>
                    <a:pt x="1209" y="69"/>
                  </a:lnTo>
                  <a:lnTo>
                    <a:pt x="1211" y="82"/>
                  </a:lnTo>
                  <a:lnTo>
                    <a:pt x="1202" y="94"/>
                  </a:lnTo>
                  <a:lnTo>
                    <a:pt x="1209" y="107"/>
                  </a:lnTo>
                  <a:lnTo>
                    <a:pt x="1207" y="121"/>
                  </a:lnTo>
                  <a:lnTo>
                    <a:pt x="1181" y="136"/>
                  </a:lnTo>
                  <a:lnTo>
                    <a:pt x="1163" y="140"/>
                  </a:lnTo>
                  <a:lnTo>
                    <a:pt x="1148" y="132"/>
                  </a:lnTo>
                  <a:lnTo>
                    <a:pt x="1142" y="142"/>
                  </a:lnTo>
                  <a:lnTo>
                    <a:pt x="1129" y="163"/>
                  </a:lnTo>
                  <a:lnTo>
                    <a:pt x="1127" y="172"/>
                  </a:lnTo>
                  <a:lnTo>
                    <a:pt x="1110" y="188"/>
                  </a:lnTo>
                  <a:lnTo>
                    <a:pt x="1088" y="190"/>
                  </a:lnTo>
                  <a:lnTo>
                    <a:pt x="1079" y="197"/>
                  </a:lnTo>
                  <a:lnTo>
                    <a:pt x="1077" y="213"/>
                  </a:lnTo>
                  <a:lnTo>
                    <a:pt x="1064" y="217"/>
                  </a:lnTo>
                  <a:lnTo>
                    <a:pt x="1044" y="234"/>
                  </a:lnTo>
                  <a:lnTo>
                    <a:pt x="1029" y="257"/>
                  </a:lnTo>
                  <a:lnTo>
                    <a:pt x="1025" y="274"/>
                  </a:lnTo>
                  <a:lnTo>
                    <a:pt x="1025" y="299"/>
                  </a:lnTo>
                  <a:lnTo>
                    <a:pt x="1044" y="301"/>
                  </a:lnTo>
                  <a:lnTo>
                    <a:pt x="1050" y="320"/>
                  </a:lnTo>
                  <a:lnTo>
                    <a:pt x="1058" y="336"/>
                  </a:lnTo>
                  <a:lnTo>
                    <a:pt x="1075" y="332"/>
                  </a:lnTo>
                  <a:lnTo>
                    <a:pt x="1102" y="339"/>
                  </a:lnTo>
                  <a:lnTo>
                    <a:pt x="1115" y="347"/>
                  </a:lnTo>
                  <a:lnTo>
                    <a:pt x="1127" y="357"/>
                  </a:lnTo>
                  <a:lnTo>
                    <a:pt x="1142" y="362"/>
                  </a:lnTo>
                  <a:lnTo>
                    <a:pt x="1158" y="370"/>
                  </a:lnTo>
                  <a:lnTo>
                    <a:pt x="1181" y="372"/>
                  </a:lnTo>
                  <a:lnTo>
                    <a:pt x="1196" y="374"/>
                  </a:lnTo>
                  <a:lnTo>
                    <a:pt x="1194" y="389"/>
                  </a:lnTo>
                  <a:lnTo>
                    <a:pt x="1198" y="409"/>
                  </a:lnTo>
                  <a:lnTo>
                    <a:pt x="1207" y="430"/>
                  </a:lnTo>
                  <a:lnTo>
                    <a:pt x="1230" y="447"/>
                  </a:lnTo>
                  <a:lnTo>
                    <a:pt x="1240" y="443"/>
                  </a:lnTo>
                  <a:lnTo>
                    <a:pt x="1248" y="422"/>
                  </a:lnTo>
                  <a:lnTo>
                    <a:pt x="1240" y="393"/>
                  </a:lnTo>
                  <a:lnTo>
                    <a:pt x="1230" y="382"/>
                  </a:lnTo>
                  <a:lnTo>
                    <a:pt x="1253" y="374"/>
                  </a:lnTo>
                  <a:lnTo>
                    <a:pt x="1269" y="361"/>
                  </a:lnTo>
                  <a:lnTo>
                    <a:pt x="1277" y="347"/>
                  </a:lnTo>
                  <a:lnTo>
                    <a:pt x="1275" y="334"/>
                  </a:lnTo>
                  <a:lnTo>
                    <a:pt x="1265" y="316"/>
                  </a:lnTo>
                  <a:lnTo>
                    <a:pt x="1248" y="301"/>
                  </a:lnTo>
                  <a:lnTo>
                    <a:pt x="1265" y="280"/>
                  </a:lnTo>
                  <a:lnTo>
                    <a:pt x="1257" y="261"/>
                  </a:lnTo>
                  <a:lnTo>
                    <a:pt x="1253" y="226"/>
                  </a:lnTo>
                  <a:lnTo>
                    <a:pt x="1265" y="222"/>
                  </a:lnTo>
                  <a:lnTo>
                    <a:pt x="1288" y="228"/>
                  </a:lnTo>
                  <a:lnTo>
                    <a:pt x="1301" y="230"/>
                  </a:lnTo>
                  <a:lnTo>
                    <a:pt x="1313" y="224"/>
                  </a:lnTo>
                  <a:lnTo>
                    <a:pt x="1326" y="232"/>
                  </a:lnTo>
                  <a:lnTo>
                    <a:pt x="1344" y="243"/>
                  </a:lnTo>
                  <a:lnTo>
                    <a:pt x="1348" y="251"/>
                  </a:lnTo>
                  <a:lnTo>
                    <a:pt x="1374" y="253"/>
                  </a:lnTo>
                  <a:lnTo>
                    <a:pt x="1372" y="272"/>
                  </a:lnTo>
                  <a:lnTo>
                    <a:pt x="1376" y="299"/>
                  </a:lnTo>
                  <a:lnTo>
                    <a:pt x="1390" y="301"/>
                  </a:lnTo>
                  <a:lnTo>
                    <a:pt x="1399" y="313"/>
                  </a:lnTo>
                  <a:lnTo>
                    <a:pt x="1420" y="301"/>
                  </a:lnTo>
                  <a:lnTo>
                    <a:pt x="1434" y="278"/>
                  </a:lnTo>
                  <a:lnTo>
                    <a:pt x="1443" y="270"/>
                  </a:lnTo>
                  <a:lnTo>
                    <a:pt x="1455" y="288"/>
                  </a:lnTo>
                  <a:lnTo>
                    <a:pt x="1472" y="313"/>
                  </a:lnTo>
                  <a:lnTo>
                    <a:pt x="1488" y="339"/>
                  </a:lnTo>
                  <a:lnTo>
                    <a:pt x="1482" y="349"/>
                  </a:lnTo>
                  <a:lnTo>
                    <a:pt x="1501" y="362"/>
                  </a:lnTo>
                  <a:lnTo>
                    <a:pt x="1513" y="372"/>
                  </a:lnTo>
                  <a:lnTo>
                    <a:pt x="1536" y="378"/>
                  </a:lnTo>
                  <a:lnTo>
                    <a:pt x="1545" y="384"/>
                  </a:lnTo>
                  <a:lnTo>
                    <a:pt x="1549" y="401"/>
                  </a:lnTo>
                  <a:lnTo>
                    <a:pt x="1561" y="403"/>
                  </a:lnTo>
                  <a:lnTo>
                    <a:pt x="1566" y="409"/>
                  </a:lnTo>
                  <a:lnTo>
                    <a:pt x="1566" y="430"/>
                  </a:lnTo>
                  <a:lnTo>
                    <a:pt x="1557" y="437"/>
                  </a:lnTo>
                  <a:lnTo>
                    <a:pt x="1547" y="443"/>
                  </a:lnTo>
                  <a:lnTo>
                    <a:pt x="1524" y="451"/>
                  </a:lnTo>
                  <a:lnTo>
                    <a:pt x="1507" y="466"/>
                  </a:lnTo>
                  <a:lnTo>
                    <a:pt x="1482" y="470"/>
                  </a:lnTo>
                  <a:lnTo>
                    <a:pt x="1453" y="466"/>
                  </a:lnTo>
                  <a:lnTo>
                    <a:pt x="1434" y="464"/>
                  </a:lnTo>
                  <a:lnTo>
                    <a:pt x="1417" y="466"/>
                  </a:lnTo>
                  <a:lnTo>
                    <a:pt x="1405" y="480"/>
                  </a:lnTo>
                  <a:lnTo>
                    <a:pt x="1388" y="487"/>
                  </a:lnTo>
                  <a:lnTo>
                    <a:pt x="1369" y="510"/>
                  </a:lnTo>
                  <a:lnTo>
                    <a:pt x="1351" y="528"/>
                  </a:lnTo>
                  <a:lnTo>
                    <a:pt x="1363" y="524"/>
                  </a:lnTo>
                  <a:lnTo>
                    <a:pt x="1386" y="501"/>
                  </a:lnTo>
                  <a:lnTo>
                    <a:pt x="1415" y="485"/>
                  </a:lnTo>
                  <a:lnTo>
                    <a:pt x="1436" y="483"/>
                  </a:lnTo>
                  <a:lnTo>
                    <a:pt x="1449" y="491"/>
                  </a:lnTo>
                  <a:lnTo>
                    <a:pt x="1436" y="504"/>
                  </a:lnTo>
                  <a:lnTo>
                    <a:pt x="1440" y="524"/>
                  </a:lnTo>
                  <a:lnTo>
                    <a:pt x="1443" y="537"/>
                  </a:lnTo>
                  <a:lnTo>
                    <a:pt x="1463" y="547"/>
                  </a:lnTo>
                  <a:lnTo>
                    <a:pt x="1486" y="543"/>
                  </a:lnTo>
                  <a:lnTo>
                    <a:pt x="1501" y="524"/>
                  </a:lnTo>
                  <a:lnTo>
                    <a:pt x="1501" y="535"/>
                  </a:lnTo>
                  <a:lnTo>
                    <a:pt x="1511" y="543"/>
                  </a:lnTo>
                  <a:lnTo>
                    <a:pt x="1493" y="554"/>
                  </a:lnTo>
                  <a:lnTo>
                    <a:pt x="1461" y="564"/>
                  </a:lnTo>
                  <a:lnTo>
                    <a:pt x="1447" y="572"/>
                  </a:lnTo>
                  <a:lnTo>
                    <a:pt x="1434" y="583"/>
                  </a:lnTo>
                  <a:lnTo>
                    <a:pt x="1420" y="583"/>
                  </a:lnTo>
                  <a:lnTo>
                    <a:pt x="1420" y="568"/>
                  </a:lnTo>
                  <a:lnTo>
                    <a:pt x="1445" y="554"/>
                  </a:lnTo>
                  <a:lnTo>
                    <a:pt x="1422" y="554"/>
                  </a:lnTo>
                  <a:lnTo>
                    <a:pt x="1407" y="556"/>
                  </a:lnTo>
                  <a:lnTo>
                    <a:pt x="1409" y="560"/>
                  </a:lnTo>
                  <a:lnTo>
                    <a:pt x="1395" y="570"/>
                  </a:lnTo>
                  <a:lnTo>
                    <a:pt x="1380" y="575"/>
                  </a:lnTo>
                  <a:lnTo>
                    <a:pt x="1365" y="581"/>
                  </a:lnTo>
                  <a:lnTo>
                    <a:pt x="1357" y="591"/>
                  </a:lnTo>
                  <a:lnTo>
                    <a:pt x="1355" y="595"/>
                  </a:lnTo>
                  <a:lnTo>
                    <a:pt x="1355" y="599"/>
                  </a:lnTo>
                  <a:lnTo>
                    <a:pt x="1355" y="604"/>
                  </a:lnTo>
                  <a:lnTo>
                    <a:pt x="1359" y="614"/>
                  </a:lnTo>
                  <a:lnTo>
                    <a:pt x="1367" y="614"/>
                  </a:lnTo>
                  <a:lnTo>
                    <a:pt x="1365" y="608"/>
                  </a:lnTo>
                  <a:lnTo>
                    <a:pt x="1369" y="612"/>
                  </a:lnTo>
                  <a:lnTo>
                    <a:pt x="1367" y="616"/>
                  </a:lnTo>
                  <a:lnTo>
                    <a:pt x="1357" y="618"/>
                  </a:lnTo>
                  <a:lnTo>
                    <a:pt x="1351" y="618"/>
                  </a:lnTo>
                  <a:lnTo>
                    <a:pt x="1342" y="622"/>
                  </a:lnTo>
                  <a:lnTo>
                    <a:pt x="1334" y="622"/>
                  </a:lnTo>
                  <a:lnTo>
                    <a:pt x="1326" y="623"/>
                  </a:lnTo>
                  <a:lnTo>
                    <a:pt x="1315" y="627"/>
                  </a:lnTo>
                  <a:lnTo>
                    <a:pt x="1336" y="623"/>
                  </a:lnTo>
                  <a:lnTo>
                    <a:pt x="1340" y="627"/>
                  </a:lnTo>
                  <a:lnTo>
                    <a:pt x="1319" y="633"/>
                  </a:lnTo>
                  <a:lnTo>
                    <a:pt x="1311" y="633"/>
                  </a:lnTo>
                  <a:lnTo>
                    <a:pt x="1311" y="629"/>
                  </a:lnTo>
                  <a:lnTo>
                    <a:pt x="1309" y="635"/>
                  </a:lnTo>
                  <a:lnTo>
                    <a:pt x="1311" y="635"/>
                  </a:lnTo>
                  <a:lnTo>
                    <a:pt x="1309" y="648"/>
                  </a:lnTo>
                  <a:lnTo>
                    <a:pt x="1298" y="660"/>
                  </a:lnTo>
                  <a:lnTo>
                    <a:pt x="1298" y="656"/>
                  </a:lnTo>
                  <a:lnTo>
                    <a:pt x="1294" y="654"/>
                  </a:lnTo>
                  <a:lnTo>
                    <a:pt x="1290" y="652"/>
                  </a:lnTo>
                  <a:lnTo>
                    <a:pt x="1294" y="660"/>
                  </a:lnTo>
                  <a:lnTo>
                    <a:pt x="1296" y="662"/>
                  </a:lnTo>
                  <a:lnTo>
                    <a:pt x="1296" y="668"/>
                  </a:lnTo>
                  <a:lnTo>
                    <a:pt x="1292" y="675"/>
                  </a:lnTo>
                  <a:lnTo>
                    <a:pt x="1284" y="689"/>
                  </a:lnTo>
                  <a:lnTo>
                    <a:pt x="1282" y="687"/>
                  </a:lnTo>
                  <a:lnTo>
                    <a:pt x="1288" y="677"/>
                  </a:lnTo>
                  <a:lnTo>
                    <a:pt x="1280" y="670"/>
                  </a:lnTo>
                  <a:lnTo>
                    <a:pt x="1278" y="656"/>
                  </a:lnTo>
                  <a:lnTo>
                    <a:pt x="1277" y="662"/>
                  </a:lnTo>
                  <a:lnTo>
                    <a:pt x="1280" y="673"/>
                  </a:lnTo>
                  <a:lnTo>
                    <a:pt x="1271" y="671"/>
                  </a:lnTo>
                  <a:lnTo>
                    <a:pt x="1280" y="677"/>
                  </a:lnTo>
                  <a:lnTo>
                    <a:pt x="1280" y="691"/>
                  </a:lnTo>
                  <a:lnTo>
                    <a:pt x="1282" y="693"/>
                  </a:lnTo>
                  <a:lnTo>
                    <a:pt x="1284" y="698"/>
                  </a:lnTo>
                  <a:lnTo>
                    <a:pt x="1288" y="716"/>
                  </a:lnTo>
                  <a:lnTo>
                    <a:pt x="1278" y="727"/>
                  </a:lnTo>
                  <a:lnTo>
                    <a:pt x="1265" y="729"/>
                  </a:lnTo>
                  <a:lnTo>
                    <a:pt x="1253" y="739"/>
                  </a:lnTo>
                  <a:lnTo>
                    <a:pt x="1248" y="741"/>
                  </a:lnTo>
                  <a:lnTo>
                    <a:pt x="1242" y="746"/>
                  </a:lnTo>
                  <a:lnTo>
                    <a:pt x="1240" y="752"/>
                  </a:lnTo>
                  <a:lnTo>
                    <a:pt x="1223" y="762"/>
                  </a:lnTo>
                  <a:lnTo>
                    <a:pt x="1215" y="769"/>
                  </a:lnTo>
                  <a:lnTo>
                    <a:pt x="1209" y="779"/>
                  </a:lnTo>
                  <a:lnTo>
                    <a:pt x="1207" y="790"/>
                  </a:lnTo>
                  <a:lnTo>
                    <a:pt x="1209" y="800"/>
                  </a:lnTo>
                  <a:lnTo>
                    <a:pt x="1215" y="813"/>
                  </a:lnTo>
                  <a:lnTo>
                    <a:pt x="1219" y="823"/>
                  </a:lnTo>
                  <a:lnTo>
                    <a:pt x="1219" y="827"/>
                  </a:lnTo>
                  <a:lnTo>
                    <a:pt x="1221" y="831"/>
                  </a:lnTo>
                  <a:lnTo>
                    <a:pt x="1227" y="846"/>
                  </a:lnTo>
                  <a:lnTo>
                    <a:pt x="1227" y="858"/>
                  </a:lnTo>
                  <a:lnTo>
                    <a:pt x="1227" y="863"/>
                  </a:lnTo>
                  <a:lnTo>
                    <a:pt x="1223" y="871"/>
                  </a:lnTo>
                  <a:lnTo>
                    <a:pt x="1217" y="873"/>
                  </a:lnTo>
                  <a:lnTo>
                    <a:pt x="1211" y="871"/>
                  </a:lnTo>
                  <a:lnTo>
                    <a:pt x="1209" y="865"/>
                  </a:lnTo>
                  <a:lnTo>
                    <a:pt x="1206" y="861"/>
                  </a:lnTo>
                  <a:lnTo>
                    <a:pt x="1196" y="850"/>
                  </a:lnTo>
                  <a:lnTo>
                    <a:pt x="1190" y="838"/>
                  </a:lnTo>
                  <a:lnTo>
                    <a:pt x="1188" y="831"/>
                  </a:lnTo>
                  <a:lnTo>
                    <a:pt x="1190" y="821"/>
                  </a:lnTo>
                  <a:lnTo>
                    <a:pt x="1188" y="813"/>
                  </a:lnTo>
                  <a:lnTo>
                    <a:pt x="1177" y="802"/>
                  </a:lnTo>
                  <a:lnTo>
                    <a:pt x="1171" y="798"/>
                  </a:lnTo>
                  <a:lnTo>
                    <a:pt x="1156" y="804"/>
                  </a:lnTo>
                  <a:lnTo>
                    <a:pt x="1154" y="804"/>
                  </a:lnTo>
                  <a:lnTo>
                    <a:pt x="1148" y="798"/>
                  </a:lnTo>
                  <a:lnTo>
                    <a:pt x="1138" y="794"/>
                  </a:lnTo>
                  <a:lnTo>
                    <a:pt x="1123" y="796"/>
                  </a:lnTo>
                  <a:lnTo>
                    <a:pt x="1110" y="794"/>
                  </a:lnTo>
                  <a:lnTo>
                    <a:pt x="1100" y="794"/>
                  </a:lnTo>
                  <a:lnTo>
                    <a:pt x="1094" y="798"/>
                  </a:lnTo>
                  <a:lnTo>
                    <a:pt x="1098" y="802"/>
                  </a:lnTo>
                  <a:lnTo>
                    <a:pt x="1096" y="808"/>
                  </a:lnTo>
                  <a:lnTo>
                    <a:pt x="1100" y="812"/>
                  </a:lnTo>
                  <a:lnTo>
                    <a:pt x="1098" y="813"/>
                  </a:lnTo>
                  <a:lnTo>
                    <a:pt x="1092" y="810"/>
                  </a:lnTo>
                  <a:lnTo>
                    <a:pt x="1087" y="813"/>
                  </a:lnTo>
                  <a:lnTo>
                    <a:pt x="1075" y="813"/>
                  </a:lnTo>
                  <a:lnTo>
                    <a:pt x="1065" y="804"/>
                  </a:lnTo>
                  <a:lnTo>
                    <a:pt x="1054" y="806"/>
                  </a:lnTo>
                  <a:lnTo>
                    <a:pt x="1044" y="804"/>
                  </a:lnTo>
                  <a:lnTo>
                    <a:pt x="1035" y="804"/>
                  </a:lnTo>
                  <a:lnTo>
                    <a:pt x="1025" y="808"/>
                  </a:lnTo>
                  <a:lnTo>
                    <a:pt x="1010" y="821"/>
                  </a:lnTo>
                  <a:lnTo>
                    <a:pt x="996" y="827"/>
                  </a:lnTo>
                  <a:lnTo>
                    <a:pt x="989" y="833"/>
                  </a:lnTo>
                  <a:lnTo>
                    <a:pt x="985" y="840"/>
                  </a:lnTo>
                  <a:lnTo>
                    <a:pt x="985" y="850"/>
                  </a:lnTo>
                  <a:lnTo>
                    <a:pt x="987" y="858"/>
                  </a:lnTo>
                  <a:lnTo>
                    <a:pt x="989" y="861"/>
                  </a:lnTo>
                  <a:lnTo>
                    <a:pt x="985" y="875"/>
                  </a:lnTo>
                  <a:lnTo>
                    <a:pt x="983" y="886"/>
                  </a:lnTo>
                  <a:lnTo>
                    <a:pt x="981" y="906"/>
                  </a:lnTo>
                  <a:lnTo>
                    <a:pt x="979" y="913"/>
                  </a:lnTo>
                  <a:lnTo>
                    <a:pt x="983" y="921"/>
                  </a:lnTo>
                  <a:lnTo>
                    <a:pt x="985" y="929"/>
                  </a:lnTo>
                  <a:lnTo>
                    <a:pt x="989" y="938"/>
                  </a:lnTo>
                  <a:lnTo>
                    <a:pt x="996" y="950"/>
                  </a:lnTo>
                  <a:lnTo>
                    <a:pt x="1000" y="959"/>
                  </a:lnTo>
                  <a:lnTo>
                    <a:pt x="1006" y="965"/>
                  </a:lnTo>
                  <a:lnTo>
                    <a:pt x="1021" y="969"/>
                  </a:lnTo>
                  <a:lnTo>
                    <a:pt x="1027" y="975"/>
                  </a:lnTo>
                  <a:lnTo>
                    <a:pt x="1039" y="971"/>
                  </a:lnTo>
                  <a:lnTo>
                    <a:pt x="1050" y="971"/>
                  </a:lnTo>
                  <a:lnTo>
                    <a:pt x="1062" y="967"/>
                  </a:lnTo>
                  <a:lnTo>
                    <a:pt x="1069" y="965"/>
                  </a:lnTo>
                  <a:lnTo>
                    <a:pt x="1077" y="959"/>
                  </a:lnTo>
                  <a:lnTo>
                    <a:pt x="1081" y="950"/>
                  </a:lnTo>
                  <a:lnTo>
                    <a:pt x="1083" y="938"/>
                  </a:lnTo>
                  <a:lnTo>
                    <a:pt x="1085" y="934"/>
                  </a:lnTo>
                  <a:lnTo>
                    <a:pt x="1094" y="931"/>
                  </a:lnTo>
                  <a:lnTo>
                    <a:pt x="1110" y="927"/>
                  </a:lnTo>
                  <a:lnTo>
                    <a:pt x="1121" y="927"/>
                  </a:lnTo>
                  <a:lnTo>
                    <a:pt x="1129" y="925"/>
                  </a:lnTo>
                  <a:lnTo>
                    <a:pt x="1133" y="929"/>
                  </a:lnTo>
                  <a:lnTo>
                    <a:pt x="1133" y="936"/>
                  </a:lnTo>
                  <a:lnTo>
                    <a:pt x="1125" y="946"/>
                  </a:lnTo>
                  <a:lnTo>
                    <a:pt x="1123" y="954"/>
                  </a:lnTo>
                  <a:lnTo>
                    <a:pt x="1125" y="955"/>
                  </a:lnTo>
                  <a:lnTo>
                    <a:pt x="1123" y="963"/>
                  </a:lnTo>
                  <a:lnTo>
                    <a:pt x="1119" y="973"/>
                  </a:lnTo>
                  <a:lnTo>
                    <a:pt x="1115" y="971"/>
                  </a:lnTo>
                  <a:lnTo>
                    <a:pt x="1111" y="971"/>
                  </a:lnTo>
                  <a:lnTo>
                    <a:pt x="1111" y="973"/>
                  </a:lnTo>
                  <a:lnTo>
                    <a:pt x="1113" y="973"/>
                  </a:lnTo>
                  <a:lnTo>
                    <a:pt x="1113" y="975"/>
                  </a:lnTo>
                  <a:lnTo>
                    <a:pt x="1111" y="982"/>
                  </a:lnTo>
                  <a:lnTo>
                    <a:pt x="1113" y="984"/>
                  </a:lnTo>
                  <a:lnTo>
                    <a:pt x="1111" y="990"/>
                  </a:lnTo>
                  <a:lnTo>
                    <a:pt x="1110" y="1000"/>
                  </a:lnTo>
                  <a:lnTo>
                    <a:pt x="1110" y="1002"/>
                  </a:lnTo>
                  <a:lnTo>
                    <a:pt x="1106" y="1002"/>
                  </a:lnTo>
                  <a:lnTo>
                    <a:pt x="1104" y="1007"/>
                  </a:lnTo>
                  <a:lnTo>
                    <a:pt x="1108" y="1011"/>
                  </a:lnTo>
                  <a:lnTo>
                    <a:pt x="1110" y="1007"/>
                  </a:lnTo>
                  <a:lnTo>
                    <a:pt x="1111" y="1011"/>
                  </a:lnTo>
                  <a:lnTo>
                    <a:pt x="1098" y="1025"/>
                  </a:lnTo>
                  <a:lnTo>
                    <a:pt x="1111" y="1011"/>
                  </a:lnTo>
                  <a:lnTo>
                    <a:pt x="1113" y="1011"/>
                  </a:lnTo>
                  <a:lnTo>
                    <a:pt x="1117" y="1007"/>
                  </a:lnTo>
                  <a:lnTo>
                    <a:pt x="1123" y="1007"/>
                  </a:lnTo>
                  <a:lnTo>
                    <a:pt x="1123" y="1009"/>
                  </a:lnTo>
                  <a:lnTo>
                    <a:pt x="1127" y="1009"/>
                  </a:lnTo>
                  <a:lnTo>
                    <a:pt x="1131" y="1009"/>
                  </a:lnTo>
                  <a:lnTo>
                    <a:pt x="1138" y="1009"/>
                  </a:lnTo>
                  <a:lnTo>
                    <a:pt x="1142" y="1007"/>
                  </a:lnTo>
                  <a:lnTo>
                    <a:pt x="1144" y="1005"/>
                  </a:lnTo>
                  <a:lnTo>
                    <a:pt x="1148" y="1007"/>
                  </a:lnTo>
                  <a:lnTo>
                    <a:pt x="1152" y="1007"/>
                  </a:lnTo>
                  <a:lnTo>
                    <a:pt x="1156" y="1007"/>
                  </a:lnTo>
                  <a:lnTo>
                    <a:pt x="1158" y="1005"/>
                  </a:lnTo>
                  <a:lnTo>
                    <a:pt x="1165" y="1007"/>
                  </a:lnTo>
                  <a:lnTo>
                    <a:pt x="1167" y="1009"/>
                  </a:lnTo>
                  <a:lnTo>
                    <a:pt x="1171" y="1011"/>
                  </a:lnTo>
                  <a:lnTo>
                    <a:pt x="1177" y="1013"/>
                  </a:lnTo>
                  <a:lnTo>
                    <a:pt x="1181" y="1015"/>
                  </a:lnTo>
                  <a:lnTo>
                    <a:pt x="1184" y="1021"/>
                  </a:lnTo>
                  <a:lnTo>
                    <a:pt x="1182" y="1023"/>
                  </a:lnTo>
                  <a:lnTo>
                    <a:pt x="1182" y="1026"/>
                  </a:lnTo>
                  <a:lnTo>
                    <a:pt x="1182" y="1030"/>
                  </a:lnTo>
                  <a:lnTo>
                    <a:pt x="1181" y="1036"/>
                  </a:lnTo>
                  <a:lnTo>
                    <a:pt x="1179" y="1040"/>
                  </a:lnTo>
                  <a:lnTo>
                    <a:pt x="1177" y="1048"/>
                  </a:lnTo>
                  <a:lnTo>
                    <a:pt x="1179" y="1050"/>
                  </a:lnTo>
                  <a:lnTo>
                    <a:pt x="1179" y="1057"/>
                  </a:lnTo>
                  <a:lnTo>
                    <a:pt x="1177" y="1057"/>
                  </a:lnTo>
                  <a:lnTo>
                    <a:pt x="1177" y="1065"/>
                  </a:lnTo>
                  <a:lnTo>
                    <a:pt x="1177" y="1067"/>
                  </a:lnTo>
                  <a:lnTo>
                    <a:pt x="1175" y="1071"/>
                  </a:lnTo>
                  <a:lnTo>
                    <a:pt x="1175" y="1076"/>
                  </a:lnTo>
                  <a:lnTo>
                    <a:pt x="1177" y="1078"/>
                  </a:lnTo>
                  <a:lnTo>
                    <a:pt x="1181" y="1086"/>
                  </a:lnTo>
                  <a:lnTo>
                    <a:pt x="1186" y="1090"/>
                  </a:lnTo>
                  <a:lnTo>
                    <a:pt x="1192" y="1098"/>
                  </a:lnTo>
                  <a:lnTo>
                    <a:pt x="1198" y="1103"/>
                  </a:lnTo>
                  <a:lnTo>
                    <a:pt x="1198" y="1105"/>
                  </a:lnTo>
                  <a:lnTo>
                    <a:pt x="1204" y="1105"/>
                  </a:lnTo>
                  <a:lnTo>
                    <a:pt x="1206" y="1105"/>
                  </a:lnTo>
                  <a:lnTo>
                    <a:pt x="1207" y="1107"/>
                  </a:lnTo>
                  <a:lnTo>
                    <a:pt x="1215" y="1107"/>
                  </a:lnTo>
                  <a:lnTo>
                    <a:pt x="1221" y="1103"/>
                  </a:lnTo>
                  <a:lnTo>
                    <a:pt x="1230" y="1101"/>
                  </a:lnTo>
                  <a:lnTo>
                    <a:pt x="1234" y="1096"/>
                  </a:lnTo>
                  <a:lnTo>
                    <a:pt x="1242" y="1098"/>
                  </a:lnTo>
                  <a:lnTo>
                    <a:pt x="1242" y="1099"/>
                  </a:lnTo>
                  <a:lnTo>
                    <a:pt x="1248" y="1099"/>
                  </a:lnTo>
                  <a:lnTo>
                    <a:pt x="1253" y="1101"/>
                  </a:lnTo>
                  <a:lnTo>
                    <a:pt x="1259" y="1105"/>
                  </a:lnTo>
                  <a:lnTo>
                    <a:pt x="1265" y="1109"/>
                  </a:lnTo>
                  <a:lnTo>
                    <a:pt x="1271" y="1109"/>
                  </a:lnTo>
                  <a:lnTo>
                    <a:pt x="1282" y="1101"/>
                  </a:lnTo>
                  <a:lnTo>
                    <a:pt x="1288" y="1099"/>
                  </a:lnTo>
                  <a:lnTo>
                    <a:pt x="1288" y="1094"/>
                  </a:lnTo>
                  <a:lnTo>
                    <a:pt x="1292" y="1082"/>
                  </a:lnTo>
                  <a:lnTo>
                    <a:pt x="1298" y="1076"/>
                  </a:lnTo>
                  <a:lnTo>
                    <a:pt x="1309" y="1076"/>
                  </a:lnTo>
                  <a:lnTo>
                    <a:pt x="1309" y="1073"/>
                  </a:lnTo>
                  <a:lnTo>
                    <a:pt x="1319" y="1074"/>
                  </a:lnTo>
                  <a:lnTo>
                    <a:pt x="1330" y="1067"/>
                  </a:lnTo>
                  <a:lnTo>
                    <a:pt x="1336" y="1065"/>
                  </a:lnTo>
                  <a:lnTo>
                    <a:pt x="1344" y="1055"/>
                  </a:lnTo>
                  <a:lnTo>
                    <a:pt x="1348" y="1057"/>
                  </a:lnTo>
                  <a:lnTo>
                    <a:pt x="1351" y="1061"/>
                  </a:lnTo>
                  <a:lnTo>
                    <a:pt x="1348" y="1067"/>
                  </a:lnTo>
                  <a:lnTo>
                    <a:pt x="1348" y="1069"/>
                  </a:lnTo>
                  <a:lnTo>
                    <a:pt x="1340" y="1071"/>
                  </a:lnTo>
                  <a:lnTo>
                    <a:pt x="1346" y="1078"/>
                  </a:lnTo>
                  <a:lnTo>
                    <a:pt x="1346" y="1084"/>
                  </a:lnTo>
                  <a:lnTo>
                    <a:pt x="1338" y="1092"/>
                  </a:lnTo>
                  <a:lnTo>
                    <a:pt x="1344" y="1105"/>
                  </a:lnTo>
                  <a:lnTo>
                    <a:pt x="1349" y="1103"/>
                  </a:lnTo>
                  <a:lnTo>
                    <a:pt x="1353" y="1092"/>
                  </a:lnTo>
                  <a:lnTo>
                    <a:pt x="1348" y="1088"/>
                  </a:lnTo>
                  <a:lnTo>
                    <a:pt x="1348" y="1078"/>
                  </a:lnTo>
                  <a:lnTo>
                    <a:pt x="1365" y="1071"/>
                  </a:lnTo>
                  <a:lnTo>
                    <a:pt x="1363" y="1065"/>
                  </a:lnTo>
                  <a:lnTo>
                    <a:pt x="1369" y="1061"/>
                  </a:lnTo>
                  <a:lnTo>
                    <a:pt x="1374" y="1071"/>
                  </a:lnTo>
                  <a:lnTo>
                    <a:pt x="1382" y="1071"/>
                  </a:lnTo>
                  <a:lnTo>
                    <a:pt x="1392" y="1078"/>
                  </a:lnTo>
                  <a:lnTo>
                    <a:pt x="1392" y="1082"/>
                  </a:lnTo>
                  <a:lnTo>
                    <a:pt x="1405" y="1082"/>
                  </a:lnTo>
                  <a:lnTo>
                    <a:pt x="1420" y="1082"/>
                  </a:lnTo>
                  <a:lnTo>
                    <a:pt x="1428" y="1088"/>
                  </a:lnTo>
                  <a:lnTo>
                    <a:pt x="1440" y="1088"/>
                  </a:lnTo>
                  <a:lnTo>
                    <a:pt x="1445" y="1086"/>
                  </a:lnTo>
                  <a:lnTo>
                    <a:pt x="1445" y="1082"/>
                  </a:lnTo>
                  <a:lnTo>
                    <a:pt x="1465" y="1080"/>
                  </a:lnTo>
                  <a:lnTo>
                    <a:pt x="1482" y="1080"/>
                  </a:lnTo>
                  <a:lnTo>
                    <a:pt x="1470" y="1084"/>
                  </a:lnTo>
                  <a:lnTo>
                    <a:pt x="1474" y="1090"/>
                  </a:lnTo>
                  <a:lnTo>
                    <a:pt x="1484" y="1092"/>
                  </a:lnTo>
                  <a:lnTo>
                    <a:pt x="1497" y="1099"/>
                  </a:lnTo>
                  <a:lnTo>
                    <a:pt x="1499" y="1111"/>
                  </a:lnTo>
                  <a:lnTo>
                    <a:pt x="1505" y="1111"/>
                  </a:lnTo>
                  <a:lnTo>
                    <a:pt x="1511" y="1115"/>
                  </a:lnTo>
                  <a:lnTo>
                    <a:pt x="1520" y="1119"/>
                  </a:lnTo>
                  <a:lnTo>
                    <a:pt x="1528" y="1128"/>
                  </a:lnTo>
                  <a:lnTo>
                    <a:pt x="1528" y="1136"/>
                  </a:lnTo>
                  <a:lnTo>
                    <a:pt x="1534" y="1136"/>
                  </a:lnTo>
                  <a:lnTo>
                    <a:pt x="1541" y="1144"/>
                  </a:lnTo>
                  <a:lnTo>
                    <a:pt x="1547" y="1147"/>
                  </a:lnTo>
                  <a:lnTo>
                    <a:pt x="1562" y="1149"/>
                  </a:lnTo>
                  <a:lnTo>
                    <a:pt x="1564" y="1147"/>
                  </a:lnTo>
                  <a:lnTo>
                    <a:pt x="1576" y="1145"/>
                  </a:lnTo>
                  <a:lnTo>
                    <a:pt x="1591" y="1151"/>
                  </a:lnTo>
                  <a:lnTo>
                    <a:pt x="1597" y="1151"/>
                  </a:lnTo>
                  <a:lnTo>
                    <a:pt x="1607" y="1153"/>
                  </a:lnTo>
                  <a:lnTo>
                    <a:pt x="1622" y="1169"/>
                  </a:lnTo>
                  <a:lnTo>
                    <a:pt x="1624" y="1172"/>
                  </a:lnTo>
                  <a:lnTo>
                    <a:pt x="1628" y="1172"/>
                  </a:lnTo>
                  <a:lnTo>
                    <a:pt x="1632" y="1180"/>
                  </a:lnTo>
                  <a:lnTo>
                    <a:pt x="1639" y="1205"/>
                  </a:lnTo>
                  <a:lnTo>
                    <a:pt x="1647" y="1207"/>
                  </a:lnTo>
                  <a:lnTo>
                    <a:pt x="1647" y="1216"/>
                  </a:lnTo>
                  <a:lnTo>
                    <a:pt x="1637" y="1228"/>
                  </a:lnTo>
                  <a:lnTo>
                    <a:pt x="1641" y="1232"/>
                  </a:lnTo>
                  <a:lnTo>
                    <a:pt x="1666" y="1234"/>
                  </a:lnTo>
                  <a:lnTo>
                    <a:pt x="1666" y="1247"/>
                  </a:lnTo>
                  <a:lnTo>
                    <a:pt x="1678" y="1238"/>
                  </a:lnTo>
                  <a:lnTo>
                    <a:pt x="1693" y="1243"/>
                  </a:lnTo>
                  <a:lnTo>
                    <a:pt x="1718" y="1251"/>
                  </a:lnTo>
                  <a:lnTo>
                    <a:pt x="1724" y="1259"/>
                  </a:lnTo>
                  <a:lnTo>
                    <a:pt x="1722" y="1268"/>
                  </a:lnTo>
                  <a:lnTo>
                    <a:pt x="1737" y="1263"/>
                  </a:lnTo>
                  <a:lnTo>
                    <a:pt x="1766" y="1272"/>
                  </a:lnTo>
                  <a:lnTo>
                    <a:pt x="1785" y="1270"/>
                  </a:lnTo>
                  <a:lnTo>
                    <a:pt x="1806" y="1282"/>
                  </a:lnTo>
                  <a:lnTo>
                    <a:pt x="1823" y="1297"/>
                  </a:lnTo>
                  <a:lnTo>
                    <a:pt x="1833" y="1301"/>
                  </a:lnTo>
                  <a:lnTo>
                    <a:pt x="1848" y="1301"/>
                  </a:lnTo>
                  <a:lnTo>
                    <a:pt x="1852" y="1307"/>
                  </a:lnTo>
                  <a:lnTo>
                    <a:pt x="1856" y="1324"/>
                  </a:lnTo>
                  <a:lnTo>
                    <a:pt x="1860" y="1334"/>
                  </a:lnTo>
                  <a:lnTo>
                    <a:pt x="1852" y="1357"/>
                  </a:lnTo>
                  <a:lnTo>
                    <a:pt x="1846" y="1364"/>
                  </a:lnTo>
                  <a:lnTo>
                    <a:pt x="1827" y="1385"/>
                  </a:lnTo>
                  <a:lnTo>
                    <a:pt x="1818" y="1399"/>
                  </a:lnTo>
                  <a:lnTo>
                    <a:pt x="1808" y="1414"/>
                  </a:lnTo>
                  <a:lnTo>
                    <a:pt x="1804" y="1414"/>
                  </a:lnTo>
                  <a:lnTo>
                    <a:pt x="1800" y="1424"/>
                  </a:lnTo>
                  <a:lnTo>
                    <a:pt x="1800" y="1451"/>
                  </a:lnTo>
                  <a:lnTo>
                    <a:pt x="1797" y="1472"/>
                  </a:lnTo>
                  <a:lnTo>
                    <a:pt x="1795" y="1481"/>
                  </a:lnTo>
                  <a:lnTo>
                    <a:pt x="1791" y="1487"/>
                  </a:lnTo>
                  <a:lnTo>
                    <a:pt x="1789" y="1506"/>
                  </a:lnTo>
                  <a:lnTo>
                    <a:pt x="1773" y="1525"/>
                  </a:lnTo>
                  <a:lnTo>
                    <a:pt x="1772" y="1541"/>
                  </a:lnTo>
                  <a:lnTo>
                    <a:pt x="1760" y="1547"/>
                  </a:lnTo>
                  <a:lnTo>
                    <a:pt x="1756" y="1556"/>
                  </a:lnTo>
                  <a:lnTo>
                    <a:pt x="1743" y="1556"/>
                  </a:lnTo>
                  <a:lnTo>
                    <a:pt x="1720" y="1560"/>
                  </a:lnTo>
                  <a:lnTo>
                    <a:pt x="1710" y="1568"/>
                  </a:lnTo>
                  <a:lnTo>
                    <a:pt x="1695" y="1572"/>
                  </a:lnTo>
                  <a:lnTo>
                    <a:pt x="1679" y="1583"/>
                  </a:lnTo>
                  <a:lnTo>
                    <a:pt x="1666" y="1598"/>
                  </a:lnTo>
                  <a:lnTo>
                    <a:pt x="1666" y="1608"/>
                  </a:lnTo>
                  <a:lnTo>
                    <a:pt x="1666" y="1618"/>
                  </a:lnTo>
                  <a:lnTo>
                    <a:pt x="1666" y="1633"/>
                  </a:lnTo>
                  <a:lnTo>
                    <a:pt x="1662" y="1641"/>
                  </a:lnTo>
                  <a:lnTo>
                    <a:pt x="1653" y="1648"/>
                  </a:lnTo>
                  <a:lnTo>
                    <a:pt x="1637" y="1675"/>
                  </a:lnTo>
                  <a:lnTo>
                    <a:pt x="1624" y="1687"/>
                  </a:lnTo>
                  <a:lnTo>
                    <a:pt x="1614" y="1696"/>
                  </a:lnTo>
                  <a:lnTo>
                    <a:pt x="1608" y="1710"/>
                  </a:lnTo>
                  <a:lnTo>
                    <a:pt x="1601" y="1719"/>
                  </a:lnTo>
                  <a:lnTo>
                    <a:pt x="1593" y="1729"/>
                  </a:lnTo>
                  <a:lnTo>
                    <a:pt x="1578" y="1739"/>
                  </a:lnTo>
                  <a:lnTo>
                    <a:pt x="1566" y="1735"/>
                  </a:lnTo>
                  <a:lnTo>
                    <a:pt x="1561" y="1737"/>
                  </a:lnTo>
                  <a:lnTo>
                    <a:pt x="1547" y="1729"/>
                  </a:lnTo>
                  <a:lnTo>
                    <a:pt x="1537" y="1729"/>
                  </a:lnTo>
                  <a:lnTo>
                    <a:pt x="1530" y="1721"/>
                  </a:lnTo>
                  <a:lnTo>
                    <a:pt x="1528" y="1729"/>
                  </a:lnTo>
                  <a:lnTo>
                    <a:pt x="1547" y="1742"/>
                  </a:lnTo>
                  <a:lnTo>
                    <a:pt x="1543" y="1752"/>
                  </a:lnTo>
                  <a:lnTo>
                    <a:pt x="1553" y="1762"/>
                  </a:lnTo>
                  <a:lnTo>
                    <a:pt x="1551" y="1767"/>
                  </a:lnTo>
                  <a:lnTo>
                    <a:pt x="1537" y="1788"/>
                  </a:lnTo>
                  <a:lnTo>
                    <a:pt x="1518" y="1798"/>
                  </a:lnTo>
                  <a:lnTo>
                    <a:pt x="1490" y="1802"/>
                  </a:lnTo>
                  <a:lnTo>
                    <a:pt x="1474" y="1800"/>
                  </a:lnTo>
                  <a:lnTo>
                    <a:pt x="1478" y="1810"/>
                  </a:lnTo>
                  <a:lnTo>
                    <a:pt x="1474" y="1821"/>
                  </a:lnTo>
                  <a:lnTo>
                    <a:pt x="1478" y="1829"/>
                  </a:lnTo>
                  <a:lnTo>
                    <a:pt x="1470" y="1834"/>
                  </a:lnTo>
                  <a:lnTo>
                    <a:pt x="1455" y="1838"/>
                  </a:lnTo>
                  <a:lnTo>
                    <a:pt x="1442" y="1831"/>
                  </a:lnTo>
                  <a:lnTo>
                    <a:pt x="1436" y="1836"/>
                  </a:lnTo>
                  <a:lnTo>
                    <a:pt x="1438" y="1854"/>
                  </a:lnTo>
                  <a:lnTo>
                    <a:pt x="1447" y="1858"/>
                  </a:lnTo>
                  <a:lnTo>
                    <a:pt x="1455" y="1854"/>
                  </a:lnTo>
                  <a:lnTo>
                    <a:pt x="1459" y="1861"/>
                  </a:lnTo>
                  <a:lnTo>
                    <a:pt x="1445" y="1867"/>
                  </a:lnTo>
                  <a:lnTo>
                    <a:pt x="1434" y="1877"/>
                  </a:lnTo>
                  <a:lnTo>
                    <a:pt x="1434" y="1892"/>
                  </a:lnTo>
                  <a:lnTo>
                    <a:pt x="1430" y="1904"/>
                  </a:lnTo>
                  <a:lnTo>
                    <a:pt x="1415" y="1904"/>
                  </a:lnTo>
                  <a:lnTo>
                    <a:pt x="1405" y="1911"/>
                  </a:lnTo>
                  <a:lnTo>
                    <a:pt x="1399" y="1925"/>
                  </a:lnTo>
                  <a:lnTo>
                    <a:pt x="1415" y="1938"/>
                  </a:lnTo>
                  <a:lnTo>
                    <a:pt x="1428" y="1942"/>
                  </a:lnTo>
                  <a:lnTo>
                    <a:pt x="1424" y="1957"/>
                  </a:lnTo>
                  <a:lnTo>
                    <a:pt x="1407" y="1969"/>
                  </a:lnTo>
                  <a:lnTo>
                    <a:pt x="1395" y="1988"/>
                  </a:lnTo>
                  <a:lnTo>
                    <a:pt x="1386" y="1996"/>
                  </a:lnTo>
                  <a:lnTo>
                    <a:pt x="1378" y="2005"/>
                  </a:lnTo>
                  <a:lnTo>
                    <a:pt x="1384" y="2023"/>
                  </a:lnTo>
                  <a:lnTo>
                    <a:pt x="1394" y="2034"/>
                  </a:lnTo>
                  <a:lnTo>
                    <a:pt x="1386" y="2032"/>
                  </a:lnTo>
                  <a:lnTo>
                    <a:pt x="1376" y="2032"/>
                  </a:lnTo>
                  <a:lnTo>
                    <a:pt x="1369" y="2038"/>
                  </a:lnTo>
                  <a:lnTo>
                    <a:pt x="1355" y="2046"/>
                  </a:lnTo>
                  <a:lnTo>
                    <a:pt x="1353" y="2063"/>
                  </a:lnTo>
                  <a:lnTo>
                    <a:pt x="1348" y="2063"/>
                  </a:lnTo>
                  <a:lnTo>
                    <a:pt x="1332" y="2057"/>
                  </a:lnTo>
                  <a:lnTo>
                    <a:pt x="1315" y="2044"/>
                  </a:lnTo>
                  <a:lnTo>
                    <a:pt x="1298" y="2032"/>
                  </a:lnTo>
                  <a:lnTo>
                    <a:pt x="1294" y="2023"/>
                  </a:lnTo>
                  <a:lnTo>
                    <a:pt x="1298" y="2011"/>
                  </a:lnTo>
                  <a:lnTo>
                    <a:pt x="1292" y="1998"/>
                  </a:lnTo>
                  <a:lnTo>
                    <a:pt x="1290" y="1969"/>
                  </a:lnTo>
                  <a:lnTo>
                    <a:pt x="1294" y="1950"/>
                  </a:lnTo>
                  <a:lnTo>
                    <a:pt x="1309" y="1936"/>
                  </a:lnTo>
                  <a:lnTo>
                    <a:pt x="1288" y="1930"/>
                  </a:lnTo>
                  <a:lnTo>
                    <a:pt x="1301" y="1915"/>
                  </a:lnTo>
                  <a:lnTo>
                    <a:pt x="1307" y="1886"/>
                  </a:lnTo>
                  <a:lnTo>
                    <a:pt x="1321" y="1892"/>
                  </a:lnTo>
                  <a:lnTo>
                    <a:pt x="1330" y="1858"/>
                  </a:lnTo>
                  <a:lnTo>
                    <a:pt x="1319" y="1854"/>
                  </a:lnTo>
                  <a:lnTo>
                    <a:pt x="1315" y="1875"/>
                  </a:lnTo>
                  <a:lnTo>
                    <a:pt x="1307" y="1871"/>
                  </a:lnTo>
                  <a:lnTo>
                    <a:pt x="1311" y="1848"/>
                  </a:lnTo>
                  <a:lnTo>
                    <a:pt x="1317" y="1817"/>
                  </a:lnTo>
                  <a:lnTo>
                    <a:pt x="1321" y="1806"/>
                  </a:lnTo>
                  <a:lnTo>
                    <a:pt x="1319" y="1790"/>
                  </a:lnTo>
                  <a:lnTo>
                    <a:pt x="1317" y="1773"/>
                  </a:lnTo>
                  <a:lnTo>
                    <a:pt x="1323" y="1771"/>
                  </a:lnTo>
                  <a:lnTo>
                    <a:pt x="1332" y="1746"/>
                  </a:lnTo>
                  <a:lnTo>
                    <a:pt x="1342" y="1721"/>
                  </a:lnTo>
                  <a:lnTo>
                    <a:pt x="1348" y="1698"/>
                  </a:lnTo>
                  <a:lnTo>
                    <a:pt x="1344" y="1673"/>
                  </a:lnTo>
                  <a:lnTo>
                    <a:pt x="1348" y="1664"/>
                  </a:lnTo>
                  <a:lnTo>
                    <a:pt x="1348" y="1644"/>
                  </a:lnTo>
                  <a:lnTo>
                    <a:pt x="1355" y="1625"/>
                  </a:lnTo>
                  <a:lnTo>
                    <a:pt x="1357" y="1596"/>
                  </a:lnTo>
                  <a:lnTo>
                    <a:pt x="1361" y="1566"/>
                  </a:lnTo>
                  <a:lnTo>
                    <a:pt x="1365" y="1531"/>
                  </a:lnTo>
                  <a:lnTo>
                    <a:pt x="1365" y="1508"/>
                  </a:lnTo>
                  <a:lnTo>
                    <a:pt x="1361" y="1489"/>
                  </a:lnTo>
                  <a:lnTo>
                    <a:pt x="1348" y="1479"/>
                  </a:lnTo>
                  <a:lnTo>
                    <a:pt x="1348" y="1476"/>
                  </a:lnTo>
                  <a:lnTo>
                    <a:pt x="1319" y="1460"/>
                  </a:lnTo>
                  <a:lnTo>
                    <a:pt x="1294" y="1445"/>
                  </a:lnTo>
                  <a:lnTo>
                    <a:pt x="1282" y="1435"/>
                  </a:lnTo>
                  <a:lnTo>
                    <a:pt x="1278" y="1424"/>
                  </a:lnTo>
                  <a:lnTo>
                    <a:pt x="1280" y="1420"/>
                  </a:lnTo>
                  <a:lnTo>
                    <a:pt x="1269" y="1401"/>
                  </a:lnTo>
                  <a:lnTo>
                    <a:pt x="1253" y="1376"/>
                  </a:lnTo>
                  <a:lnTo>
                    <a:pt x="1242" y="1349"/>
                  </a:lnTo>
                  <a:lnTo>
                    <a:pt x="1236" y="1341"/>
                  </a:lnTo>
                  <a:lnTo>
                    <a:pt x="1232" y="1332"/>
                  </a:lnTo>
                  <a:lnTo>
                    <a:pt x="1219" y="1322"/>
                  </a:lnTo>
                  <a:lnTo>
                    <a:pt x="1211" y="1316"/>
                  </a:lnTo>
                  <a:lnTo>
                    <a:pt x="1215" y="1311"/>
                  </a:lnTo>
                  <a:lnTo>
                    <a:pt x="1207" y="1295"/>
                  </a:lnTo>
                  <a:lnTo>
                    <a:pt x="1213" y="1286"/>
                  </a:lnTo>
                  <a:lnTo>
                    <a:pt x="1223" y="1278"/>
                  </a:lnTo>
                  <a:lnTo>
                    <a:pt x="1232" y="1268"/>
                  </a:lnTo>
                  <a:lnTo>
                    <a:pt x="1229" y="1261"/>
                  </a:lnTo>
                  <a:lnTo>
                    <a:pt x="1223" y="1268"/>
                  </a:lnTo>
                  <a:lnTo>
                    <a:pt x="1215" y="1261"/>
                  </a:lnTo>
                  <a:lnTo>
                    <a:pt x="1217" y="1257"/>
                  </a:lnTo>
                  <a:lnTo>
                    <a:pt x="1215" y="1245"/>
                  </a:lnTo>
                  <a:lnTo>
                    <a:pt x="1219" y="1243"/>
                  </a:lnTo>
                  <a:lnTo>
                    <a:pt x="1223" y="1234"/>
                  </a:lnTo>
                  <a:lnTo>
                    <a:pt x="1229" y="1226"/>
                  </a:lnTo>
                  <a:lnTo>
                    <a:pt x="1227" y="1218"/>
                  </a:lnTo>
                  <a:lnTo>
                    <a:pt x="1234" y="1216"/>
                  </a:lnTo>
                  <a:lnTo>
                    <a:pt x="1244" y="1211"/>
                  </a:lnTo>
                  <a:lnTo>
                    <a:pt x="1242" y="1207"/>
                  </a:lnTo>
                  <a:lnTo>
                    <a:pt x="1246" y="1207"/>
                  </a:lnTo>
                  <a:lnTo>
                    <a:pt x="1246" y="1199"/>
                  </a:lnTo>
                  <a:lnTo>
                    <a:pt x="1250" y="1193"/>
                  </a:lnTo>
                  <a:lnTo>
                    <a:pt x="1255" y="1192"/>
                  </a:lnTo>
                  <a:lnTo>
                    <a:pt x="1263" y="1184"/>
                  </a:lnTo>
                  <a:lnTo>
                    <a:pt x="1269" y="1176"/>
                  </a:lnTo>
                  <a:lnTo>
                    <a:pt x="1263" y="1172"/>
                  </a:lnTo>
                  <a:lnTo>
                    <a:pt x="1265" y="1167"/>
                  </a:lnTo>
                  <a:lnTo>
                    <a:pt x="1261" y="1153"/>
                  </a:lnTo>
                  <a:lnTo>
                    <a:pt x="1265" y="1149"/>
                  </a:lnTo>
                  <a:lnTo>
                    <a:pt x="1263" y="1138"/>
                  </a:lnTo>
                  <a:lnTo>
                    <a:pt x="1257" y="1128"/>
                  </a:lnTo>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39" name="Freeform 177">
              <a:extLst>
                <a:ext uri="{FF2B5EF4-FFF2-40B4-BE49-F238E27FC236}">
                  <a16:creationId xmlns:a16="http://schemas.microsoft.com/office/drawing/2014/main" id="{308B1807-5488-11C4-E24B-6CC15C784D86}"/>
                </a:ext>
              </a:extLst>
            </p:cNvPr>
            <p:cNvSpPr>
              <a:spLocks/>
            </p:cNvSpPr>
            <p:nvPr/>
          </p:nvSpPr>
          <p:spPr bwMode="auto">
            <a:xfrm>
              <a:off x="1728789" y="2489343"/>
              <a:ext cx="404813" cy="192175"/>
            </a:xfrm>
            <a:custGeom>
              <a:avLst/>
              <a:gdLst>
                <a:gd name="T0" fmla="*/ 57 w 255"/>
                <a:gd name="T1" fmla="*/ 0 h 121"/>
                <a:gd name="T2" fmla="*/ 73 w 255"/>
                <a:gd name="T3" fmla="*/ 6 h 121"/>
                <a:gd name="T4" fmla="*/ 65 w 255"/>
                <a:gd name="T5" fmla="*/ 18 h 121"/>
                <a:gd name="T6" fmla="*/ 98 w 255"/>
                <a:gd name="T7" fmla="*/ 12 h 121"/>
                <a:gd name="T8" fmla="*/ 115 w 255"/>
                <a:gd name="T9" fmla="*/ 25 h 121"/>
                <a:gd name="T10" fmla="*/ 132 w 255"/>
                <a:gd name="T11" fmla="*/ 12 h 121"/>
                <a:gd name="T12" fmla="*/ 144 w 255"/>
                <a:gd name="T13" fmla="*/ 19 h 121"/>
                <a:gd name="T14" fmla="*/ 155 w 255"/>
                <a:gd name="T15" fmla="*/ 44 h 121"/>
                <a:gd name="T16" fmla="*/ 161 w 255"/>
                <a:gd name="T17" fmla="*/ 35 h 121"/>
                <a:gd name="T18" fmla="*/ 153 w 255"/>
                <a:gd name="T19" fmla="*/ 6 h 121"/>
                <a:gd name="T20" fmla="*/ 165 w 255"/>
                <a:gd name="T21" fmla="*/ 2 h 121"/>
                <a:gd name="T22" fmla="*/ 178 w 255"/>
                <a:gd name="T23" fmla="*/ 8 h 121"/>
                <a:gd name="T24" fmla="*/ 194 w 255"/>
                <a:gd name="T25" fmla="*/ 18 h 121"/>
                <a:gd name="T26" fmla="*/ 203 w 255"/>
                <a:gd name="T27" fmla="*/ 42 h 121"/>
                <a:gd name="T28" fmla="*/ 207 w 255"/>
                <a:gd name="T29" fmla="*/ 62 h 121"/>
                <a:gd name="T30" fmla="*/ 230 w 255"/>
                <a:gd name="T31" fmla="*/ 75 h 121"/>
                <a:gd name="T32" fmla="*/ 255 w 255"/>
                <a:gd name="T33" fmla="*/ 87 h 121"/>
                <a:gd name="T34" fmla="*/ 253 w 255"/>
                <a:gd name="T35" fmla="*/ 96 h 121"/>
                <a:gd name="T36" fmla="*/ 232 w 255"/>
                <a:gd name="T37" fmla="*/ 98 h 121"/>
                <a:gd name="T38" fmla="*/ 242 w 255"/>
                <a:gd name="T39" fmla="*/ 108 h 121"/>
                <a:gd name="T40" fmla="*/ 236 w 255"/>
                <a:gd name="T41" fmla="*/ 117 h 121"/>
                <a:gd name="T42" fmla="*/ 211 w 255"/>
                <a:gd name="T43" fmla="*/ 113 h 121"/>
                <a:gd name="T44" fmla="*/ 186 w 255"/>
                <a:gd name="T45" fmla="*/ 106 h 121"/>
                <a:gd name="T46" fmla="*/ 171 w 255"/>
                <a:gd name="T47" fmla="*/ 108 h 121"/>
                <a:gd name="T48" fmla="*/ 146 w 255"/>
                <a:gd name="T49" fmla="*/ 117 h 121"/>
                <a:gd name="T50" fmla="*/ 107 w 255"/>
                <a:gd name="T51" fmla="*/ 119 h 121"/>
                <a:gd name="T52" fmla="*/ 84 w 255"/>
                <a:gd name="T53" fmla="*/ 121 h 121"/>
                <a:gd name="T54" fmla="*/ 77 w 255"/>
                <a:gd name="T55" fmla="*/ 112 h 121"/>
                <a:gd name="T56" fmla="*/ 57 w 255"/>
                <a:gd name="T57" fmla="*/ 104 h 121"/>
                <a:gd name="T58" fmla="*/ 44 w 255"/>
                <a:gd name="T59" fmla="*/ 106 h 121"/>
                <a:gd name="T60" fmla="*/ 29 w 255"/>
                <a:gd name="T61" fmla="*/ 89 h 121"/>
                <a:gd name="T62" fmla="*/ 38 w 255"/>
                <a:gd name="T63" fmla="*/ 85 h 121"/>
                <a:gd name="T64" fmla="*/ 59 w 255"/>
                <a:gd name="T65" fmla="*/ 79 h 121"/>
                <a:gd name="T66" fmla="*/ 78 w 255"/>
                <a:gd name="T67" fmla="*/ 81 h 121"/>
                <a:gd name="T68" fmla="*/ 98 w 255"/>
                <a:gd name="T69" fmla="*/ 77 h 121"/>
                <a:gd name="T70" fmla="*/ 71 w 255"/>
                <a:gd name="T71" fmla="*/ 71 h 121"/>
                <a:gd name="T72" fmla="*/ 40 w 255"/>
                <a:gd name="T73" fmla="*/ 73 h 121"/>
                <a:gd name="T74" fmla="*/ 19 w 255"/>
                <a:gd name="T75" fmla="*/ 73 h 121"/>
                <a:gd name="T76" fmla="*/ 13 w 255"/>
                <a:gd name="T77" fmla="*/ 64 h 121"/>
                <a:gd name="T78" fmla="*/ 44 w 255"/>
                <a:gd name="T79" fmla="*/ 54 h 121"/>
                <a:gd name="T80" fmla="*/ 23 w 255"/>
                <a:gd name="T81" fmla="*/ 54 h 121"/>
                <a:gd name="T82" fmla="*/ 0 w 255"/>
                <a:gd name="T83" fmla="*/ 46 h 121"/>
                <a:gd name="T84" fmla="*/ 11 w 255"/>
                <a:gd name="T85" fmla="*/ 27 h 121"/>
                <a:gd name="T86" fmla="*/ 21 w 255"/>
                <a:gd name="T87" fmla="*/ 18 h 121"/>
                <a:gd name="T88" fmla="*/ 57 w 255"/>
                <a:gd name="T89" fmla="*/ 0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55" h="121">
                  <a:moveTo>
                    <a:pt x="57" y="0"/>
                  </a:moveTo>
                  <a:lnTo>
                    <a:pt x="73" y="6"/>
                  </a:lnTo>
                  <a:lnTo>
                    <a:pt x="65" y="18"/>
                  </a:lnTo>
                  <a:lnTo>
                    <a:pt x="98" y="12"/>
                  </a:lnTo>
                  <a:lnTo>
                    <a:pt x="115" y="25"/>
                  </a:lnTo>
                  <a:lnTo>
                    <a:pt x="132" y="12"/>
                  </a:lnTo>
                  <a:lnTo>
                    <a:pt x="144" y="19"/>
                  </a:lnTo>
                  <a:lnTo>
                    <a:pt x="155" y="44"/>
                  </a:lnTo>
                  <a:lnTo>
                    <a:pt x="161" y="35"/>
                  </a:lnTo>
                  <a:lnTo>
                    <a:pt x="153" y="6"/>
                  </a:lnTo>
                  <a:lnTo>
                    <a:pt x="165" y="2"/>
                  </a:lnTo>
                  <a:lnTo>
                    <a:pt x="178" y="8"/>
                  </a:lnTo>
                  <a:lnTo>
                    <a:pt x="194" y="18"/>
                  </a:lnTo>
                  <a:lnTo>
                    <a:pt x="203" y="42"/>
                  </a:lnTo>
                  <a:lnTo>
                    <a:pt x="207" y="62"/>
                  </a:lnTo>
                  <a:lnTo>
                    <a:pt x="230" y="75"/>
                  </a:lnTo>
                  <a:lnTo>
                    <a:pt x="255" y="87"/>
                  </a:lnTo>
                  <a:lnTo>
                    <a:pt x="253" y="96"/>
                  </a:lnTo>
                  <a:lnTo>
                    <a:pt x="232" y="98"/>
                  </a:lnTo>
                  <a:lnTo>
                    <a:pt x="242" y="108"/>
                  </a:lnTo>
                  <a:lnTo>
                    <a:pt x="236" y="117"/>
                  </a:lnTo>
                  <a:lnTo>
                    <a:pt x="211" y="113"/>
                  </a:lnTo>
                  <a:lnTo>
                    <a:pt x="186" y="106"/>
                  </a:lnTo>
                  <a:lnTo>
                    <a:pt x="171" y="108"/>
                  </a:lnTo>
                  <a:lnTo>
                    <a:pt x="146" y="117"/>
                  </a:lnTo>
                  <a:lnTo>
                    <a:pt x="107" y="119"/>
                  </a:lnTo>
                  <a:lnTo>
                    <a:pt x="84" y="121"/>
                  </a:lnTo>
                  <a:lnTo>
                    <a:pt x="77" y="112"/>
                  </a:lnTo>
                  <a:lnTo>
                    <a:pt x="57" y="104"/>
                  </a:lnTo>
                  <a:lnTo>
                    <a:pt x="44" y="106"/>
                  </a:lnTo>
                  <a:lnTo>
                    <a:pt x="29" y="89"/>
                  </a:lnTo>
                  <a:lnTo>
                    <a:pt x="38" y="85"/>
                  </a:lnTo>
                  <a:lnTo>
                    <a:pt x="59" y="79"/>
                  </a:lnTo>
                  <a:lnTo>
                    <a:pt x="78" y="81"/>
                  </a:lnTo>
                  <a:lnTo>
                    <a:pt x="98" y="77"/>
                  </a:lnTo>
                  <a:lnTo>
                    <a:pt x="71" y="71"/>
                  </a:lnTo>
                  <a:lnTo>
                    <a:pt x="40" y="73"/>
                  </a:lnTo>
                  <a:lnTo>
                    <a:pt x="19" y="73"/>
                  </a:lnTo>
                  <a:lnTo>
                    <a:pt x="13" y="64"/>
                  </a:lnTo>
                  <a:lnTo>
                    <a:pt x="44" y="54"/>
                  </a:lnTo>
                  <a:lnTo>
                    <a:pt x="23" y="54"/>
                  </a:lnTo>
                  <a:lnTo>
                    <a:pt x="0" y="46"/>
                  </a:lnTo>
                  <a:lnTo>
                    <a:pt x="11" y="27"/>
                  </a:lnTo>
                  <a:lnTo>
                    <a:pt x="21" y="18"/>
                  </a:lnTo>
                  <a:lnTo>
                    <a:pt x="57" y="0"/>
                  </a:lnTo>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40" name="Freeform 179">
              <a:extLst>
                <a:ext uri="{FF2B5EF4-FFF2-40B4-BE49-F238E27FC236}">
                  <a16:creationId xmlns:a16="http://schemas.microsoft.com/office/drawing/2014/main" id="{F6AC2B6E-784C-882D-ECCF-5D069E80FD17}"/>
                </a:ext>
              </a:extLst>
            </p:cNvPr>
            <p:cNvSpPr>
              <a:spLocks/>
            </p:cNvSpPr>
            <p:nvPr/>
          </p:nvSpPr>
          <p:spPr bwMode="auto">
            <a:xfrm>
              <a:off x="2005014" y="2478225"/>
              <a:ext cx="52388" cy="36530"/>
            </a:xfrm>
            <a:custGeom>
              <a:avLst/>
              <a:gdLst>
                <a:gd name="T0" fmla="*/ 23 w 33"/>
                <a:gd name="T1" fmla="*/ 0 h 23"/>
                <a:gd name="T2" fmla="*/ 33 w 33"/>
                <a:gd name="T3" fmla="*/ 5 h 23"/>
                <a:gd name="T4" fmla="*/ 21 w 33"/>
                <a:gd name="T5" fmla="*/ 23 h 23"/>
                <a:gd name="T6" fmla="*/ 0 w 33"/>
                <a:gd name="T7" fmla="*/ 5 h 23"/>
                <a:gd name="T8" fmla="*/ 4 w 33"/>
                <a:gd name="T9" fmla="*/ 0 h 23"/>
                <a:gd name="T10" fmla="*/ 23 w 33"/>
                <a:gd name="T11" fmla="*/ 0 h 23"/>
              </a:gdLst>
              <a:ahLst/>
              <a:cxnLst>
                <a:cxn ang="0">
                  <a:pos x="T0" y="T1"/>
                </a:cxn>
                <a:cxn ang="0">
                  <a:pos x="T2" y="T3"/>
                </a:cxn>
                <a:cxn ang="0">
                  <a:pos x="T4" y="T5"/>
                </a:cxn>
                <a:cxn ang="0">
                  <a:pos x="T6" y="T7"/>
                </a:cxn>
                <a:cxn ang="0">
                  <a:pos x="T8" y="T9"/>
                </a:cxn>
                <a:cxn ang="0">
                  <a:pos x="T10" y="T11"/>
                </a:cxn>
              </a:cxnLst>
              <a:rect l="0" t="0" r="r" b="b"/>
              <a:pathLst>
                <a:path w="33" h="23">
                  <a:moveTo>
                    <a:pt x="23" y="0"/>
                  </a:moveTo>
                  <a:lnTo>
                    <a:pt x="33" y="5"/>
                  </a:lnTo>
                  <a:lnTo>
                    <a:pt x="21" y="23"/>
                  </a:lnTo>
                  <a:lnTo>
                    <a:pt x="0" y="5"/>
                  </a:lnTo>
                  <a:lnTo>
                    <a:pt x="4" y="0"/>
                  </a:lnTo>
                  <a:lnTo>
                    <a:pt x="23" y="0"/>
                  </a:lnTo>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41" name="Freeform 181">
              <a:extLst>
                <a:ext uri="{FF2B5EF4-FFF2-40B4-BE49-F238E27FC236}">
                  <a16:creationId xmlns:a16="http://schemas.microsoft.com/office/drawing/2014/main" id="{EBF6B418-E8DF-A9FA-2EB4-6F14A166CDA7}"/>
                </a:ext>
              </a:extLst>
            </p:cNvPr>
            <p:cNvSpPr>
              <a:spLocks/>
            </p:cNvSpPr>
            <p:nvPr/>
          </p:nvSpPr>
          <p:spPr bwMode="auto">
            <a:xfrm>
              <a:off x="2578101" y="2471872"/>
              <a:ext cx="103188" cy="42882"/>
            </a:xfrm>
            <a:custGeom>
              <a:avLst/>
              <a:gdLst>
                <a:gd name="T0" fmla="*/ 8 w 65"/>
                <a:gd name="T1" fmla="*/ 0 h 27"/>
                <a:gd name="T2" fmla="*/ 38 w 65"/>
                <a:gd name="T3" fmla="*/ 2 h 27"/>
                <a:gd name="T4" fmla="*/ 63 w 65"/>
                <a:gd name="T5" fmla="*/ 17 h 27"/>
                <a:gd name="T6" fmla="*/ 65 w 65"/>
                <a:gd name="T7" fmla="*/ 25 h 27"/>
                <a:gd name="T8" fmla="*/ 50 w 65"/>
                <a:gd name="T9" fmla="*/ 25 h 27"/>
                <a:gd name="T10" fmla="*/ 35 w 65"/>
                <a:gd name="T11" fmla="*/ 25 h 27"/>
                <a:gd name="T12" fmla="*/ 19 w 65"/>
                <a:gd name="T13" fmla="*/ 27 h 27"/>
                <a:gd name="T14" fmla="*/ 17 w 65"/>
                <a:gd name="T15" fmla="*/ 25 h 27"/>
                <a:gd name="T16" fmla="*/ 0 w 65"/>
                <a:gd name="T17" fmla="*/ 11 h 27"/>
                <a:gd name="T18" fmla="*/ 0 w 65"/>
                <a:gd name="T19" fmla="*/ 2 h 27"/>
                <a:gd name="T20" fmla="*/ 8 w 65"/>
                <a:gd name="T21" fmla="*/ 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5" h="27">
                  <a:moveTo>
                    <a:pt x="8" y="0"/>
                  </a:moveTo>
                  <a:lnTo>
                    <a:pt x="38" y="2"/>
                  </a:lnTo>
                  <a:lnTo>
                    <a:pt x="63" y="17"/>
                  </a:lnTo>
                  <a:lnTo>
                    <a:pt x="65" y="25"/>
                  </a:lnTo>
                  <a:lnTo>
                    <a:pt x="50" y="25"/>
                  </a:lnTo>
                  <a:lnTo>
                    <a:pt x="35" y="25"/>
                  </a:lnTo>
                  <a:lnTo>
                    <a:pt x="19" y="27"/>
                  </a:lnTo>
                  <a:lnTo>
                    <a:pt x="17" y="25"/>
                  </a:lnTo>
                  <a:lnTo>
                    <a:pt x="0" y="11"/>
                  </a:lnTo>
                  <a:lnTo>
                    <a:pt x="0" y="2"/>
                  </a:lnTo>
                  <a:lnTo>
                    <a:pt x="8" y="0"/>
                  </a:lnTo>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42" name="Freeform 183">
              <a:extLst>
                <a:ext uri="{FF2B5EF4-FFF2-40B4-BE49-F238E27FC236}">
                  <a16:creationId xmlns:a16="http://schemas.microsoft.com/office/drawing/2014/main" id="{CF706C2F-C61D-37FA-C45E-5569F4E91E75}"/>
                </a:ext>
              </a:extLst>
            </p:cNvPr>
            <p:cNvSpPr>
              <a:spLocks/>
            </p:cNvSpPr>
            <p:nvPr/>
          </p:nvSpPr>
          <p:spPr bwMode="auto">
            <a:xfrm>
              <a:off x="2374902" y="2471872"/>
              <a:ext cx="627063" cy="451054"/>
            </a:xfrm>
            <a:custGeom>
              <a:avLst/>
              <a:gdLst>
                <a:gd name="T0" fmla="*/ 49 w 395"/>
                <a:gd name="T1" fmla="*/ 15 h 284"/>
                <a:gd name="T2" fmla="*/ 74 w 395"/>
                <a:gd name="T3" fmla="*/ 9 h 284"/>
                <a:gd name="T4" fmla="*/ 132 w 395"/>
                <a:gd name="T5" fmla="*/ 27 h 284"/>
                <a:gd name="T6" fmla="*/ 157 w 395"/>
                <a:gd name="T7" fmla="*/ 38 h 284"/>
                <a:gd name="T8" fmla="*/ 203 w 395"/>
                <a:gd name="T9" fmla="*/ 40 h 284"/>
                <a:gd name="T10" fmla="*/ 222 w 395"/>
                <a:gd name="T11" fmla="*/ 65 h 284"/>
                <a:gd name="T12" fmla="*/ 262 w 395"/>
                <a:gd name="T13" fmla="*/ 75 h 284"/>
                <a:gd name="T14" fmla="*/ 308 w 395"/>
                <a:gd name="T15" fmla="*/ 94 h 284"/>
                <a:gd name="T16" fmla="*/ 297 w 395"/>
                <a:gd name="T17" fmla="*/ 128 h 284"/>
                <a:gd name="T18" fmla="*/ 353 w 395"/>
                <a:gd name="T19" fmla="*/ 149 h 284"/>
                <a:gd name="T20" fmla="*/ 395 w 395"/>
                <a:gd name="T21" fmla="*/ 172 h 284"/>
                <a:gd name="T22" fmla="*/ 366 w 395"/>
                <a:gd name="T23" fmla="*/ 217 h 284"/>
                <a:gd name="T24" fmla="*/ 326 w 395"/>
                <a:gd name="T25" fmla="*/ 184 h 284"/>
                <a:gd name="T26" fmla="*/ 307 w 395"/>
                <a:gd name="T27" fmla="*/ 201 h 284"/>
                <a:gd name="T28" fmla="*/ 341 w 395"/>
                <a:gd name="T29" fmla="*/ 224 h 284"/>
                <a:gd name="T30" fmla="*/ 356 w 395"/>
                <a:gd name="T31" fmla="*/ 251 h 284"/>
                <a:gd name="T32" fmla="*/ 332 w 395"/>
                <a:gd name="T33" fmla="*/ 261 h 284"/>
                <a:gd name="T34" fmla="*/ 316 w 395"/>
                <a:gd name="T35" fmla="*/ 263 h 284"/>
                <a:gd name="T36" fmla="*/ 333 w 395"/>
                <a:gd name="T37" fmla="*/ 284 h 284"/>
                <a:gd name="T38" fmla="*/ 266 w 395"/>
                <a:gd name="T39" fmla="*/ 263 h 284"/>
                <a:gd name="T40" fmla="*/ 253 w 395"/>
                <a:gd name="T41" fmla="*/ 245 h 284"/>
                <a:gd name="T42" fmla="*/ 213 w 395"/>
                <a:gd name="T43" fmla="*/ 222 h 284"/>
                <a:gd name="T44" fmla="*/ 172 w 395"/>
                <a:gd name="T45" fmla="*/ 232 h 284"/>
                <a:gd name="T46" fmla="*/ 168 w 395"/>
                <a:gd name="T47" fmla="*/ 209 h 284"/>
                <a:gd name="T48" fmla="*/ 224 w 395"/>
                <a:gd name="T49" fmla="*/ 207 h 284"/>
                <a:gd name="T50" fmla="*/ 224 w 395"/>
                <a:gd name="T51" fmla="*/ 186 h 284"/>
                <a:gd name="T52" fmla="*/ 239 w 395"/>
                <a:gd name="T53" fmla="*/ 151 h 284"/>
                <a:gd name="T54" fmla="*/ 213 w 395"/>
                <a:gd name="T55" fmla="*/ 132 h 284"/>
                <a:gd name="T56" fmla="*/ 193 w 395"/>
                <a:gd name="T57" fmla="*/ 119 h 284"/>
                <a:gd name="T58" fmla="*/ 166 w 395"/>
                <a:gd name="T59" fmla="*/ 103 h 284"/>
                <a:gd name="T60" fmla="*/ 147 w 395"/>
                <a:gd name="T61" fmla="*/ 101 h 284"/>
                <a:gd name="T62" fmla="*/ 72 w 395"/>
                <a:gd name="T63" fmla="*/ 100 h 284"/>
                <a:gd name="T64" fmla="*/ 21 w 395"/>
                <a:gd name="T65" fmla="*/ 86 h 284"/>
                <a:gd name="T66" fmla="*/ 23 w 395"/>
                <a:gd name="T67" fmla="*/ 67 h 284"/>
                <a:gd name="T68" fmla="*/ 0 w 395"/>
                <a:gd name="T69" fmla="*/ 40 h 284"/>
                <a:gd name="T70" fmla="*/ 23 w 395"/>
                <a:gd name="T71" fmla="*/ 6 h 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95" h="284">
                  <a:moveTo>
                    <a:pt x="59" y="0"/>
                  </a:moveTo>
                  <a:lnTo>
                    <a:pt x="49" y="15"/>
                  </a:lnTo>
                  <a:lnTo>
                    <a:pt x="61" y="32"/>
                  </a:lnTo>
                  <a:lnTo>
                    <a:pt x="74" y="9"/>
                  </a:lnTo>
                  <a:lnTo>
                    <a:pt x="109" y="0"/>
                  </a:lnTo>
                  <a:lnTo>
                    <a:pt x="132" y="27"/>
                  </a:lnTo>
                  <a:lnTo>
                    <a:pt x="130" y="46"/>
                  </a:lnTo>
                  <a:lnTo>
                    <a:pt x="157" y="38"/>
                  </a:lnTo>
                  <a:lnTo>
                    <a:pt x="170" y="27"/>
                  </a:lnTo>
                  <a:lnTo>
                    <a:pt x="203" y="40"/>
                  </a:lnTo>
                  <a:lnTo>
                    <a:pt x="222" y="52"/>
                  </a:lnTo>
                  <a:lnTo>
                    <a:pt x="222" y="65"/>
                  </a:lnTo>
                  <a:lnTo>
                    <a:pt x="249" y="57"/>
                  </a:lnTo>
                  <a:lnTo>
                    <a:pt x="262" y="75"/>
                  </a:lnTo>
                  <a:lnTo>
                    <a:pt x="297" y="84"/>
                  </a:lnTo>
                  <a:lnTo>
                    <a:pt x="308" y="94"/>
                  </a:lnTo>
                  <a:lnTo>
                    <a:pt x="322" y="117"/>
                  </a:lnTo>
                  <a:lnTo>
                    <a:pt x="297" y="128"/>
                  </a:lnTo>
                  <a:lnTo>
                    <a:pt x="330" y="144"/>
                  </a:lnTo>
                  <a:lnTo>
                    <a:pt x="353" y="149"/>
                  </a:lnTo>
                  <a:lnTo>
                    <a:pt x="372" y="171"/>
                  </a:lnTo>
                  <a:lnTo>
                    <a:pt x="395" y="172"/>
                  </a:lnTo>
                  <a:lnTo>
                    <a:pt x="389" y="190"/>
                  </a:lnTo>
                  <a:lnTo>
                    <a:pt x="366" y="217"/>
                  </a:lnTo>
                  <a:lnTo>
                    <a:pt x="349" y="207"/>
                  </a:lnTo>
                  <a:lnTo>
                    <a:pt x="326" y="184"/>
                  </a:lnTo>
                  <a:lnTo>
                    <a:pt x="308" y="188"/>
                  </a:lnTo>
                  <a:lnTo>
                    <a:pt x="307" y="201"/>
                  </a:lnTo>
                  <a:lnTo>
                    <a:pt x="320" y="213"/>
                  </a:lnTo>
                  <a:lnTo>
                    <a:pt x="341" y="224"/>
                  </a:lnTo>
                  <a:lnTo>
                    <a:pt x="347" y="230"/>
                  </a:lnTo>
                  <a:lnTo>
                    <a:pt x="356" y="251"/>
                  </a:lnTo>
                  <a:lnTo>
                    <a:pt x="351" y="268"/>
                  </a:lnTo>
                  <a:lnTo>
                    <a:pt x="332" y="261"/>
                  </a:lnTo>
                  <a:lnTo>
                    <a:pt x="297" y="245"/>
                  </a:lnTo>
                  <a:lnTo>
                    <a:pt x="316" y="263"/>
                  </a:lnTo>
                  <a:lnTo>
                    <a:pt x="332" y="276"/>
                  </a:lnTo>
                  <a:lnTo>
                    <a:pt x="333" y="284"/>
                  </a:lnTo>
                  <a:lnTo>
                    <a:pt x="297" y="274"/>
                  </a:lnTo>
                  <a:lnTo>
                    <a:pt x="266" y="263"/>
                  </a:lnTo>
                  <a:lnTo>
                    <a:pt x="249" y="251"/>
                  </a:lnTo>
                  <a:lnTo>
                    <a:pt x="253" y="245"/>
                  </a:lnTo>
                  <a:lnTo>
                    <a:pt x="232" y="234"/>
                  </a:lnTo>
                  <a:lnTo>
                    <a:pt x="213" y="222"/>
                  </a:lnTo>
                  <a:lnTo>
                    <a:pt x="213" y="230"/>
                  </a:lnTo>
                  <a:lnTo>
                    <a:pt x="172" y="232"/>
                  </a:lnTo>
                  <a:lnTo>
                    <a:pt x="161" y="226"/>
                  </a:lnTo>
                  <a:lnTo>
                    <a:pt x="168" y="209"/>
                  </a:lnTo>
                  <a:lnTo>
                    <a:pt x="195" y="207"/>
                  </a:lnTo>
                  <a:lnTo>
                    <a:pt x="224" y="207"/>
                  </a:lnTo>
                  <a:lnTo>
                    <a:pt x="220" y="197"/>
                  </a:lnTo>
                  <a:lnTo>
                    <a:pt x="224" y="186"/>
                  </a:lnTo>
                  <a:lnTo>
                    <a:pt x="243" y="163"/>
                  </a:lnTo>
                  <a:lnTo>
                    <a:pt x="239" y="151"/>
                  </a:lnTo>
                  <a:lnTo>
                    <a:pt x="234" y="144"/>
                  </a:lnTo>
                  <a:lnTo>
                    <a:pt x="213" y="132"/>
                  </a:lnTo>
                  <a:lnTo>
                    <a:pt x="184" y="124"/>
                  </a:lnTo>
                  <a:lnTo>
                    <a:pt x="193" y="119"/>
                  </a:lnTo>
                  <a:lnTo>
                    <a:pt x="180" y="103"/>
                  </a:lnTo>
                  <a:lnTo>
                    <a:pt x="166" y="103"/>
                  </a:lnTo>
                  <a:lnTo>
                    <a:pt x="157" y="94"/>
                  </a:lnTo>
                  <a:lnTo>
                    <a:pt x="147" y="101"/>
                  </a:lnTo>
                  <a:lnTo>
                    <a:pt x="122" y="103"/>
                  </a:lnTo>
                  <a:lnTo>
                    <a:pt x="72" y="100"/>
                  </a:lnTo>
                  <a:lnTo>
                    <a:pt x="42" y="90"/>
                  </a:lnTo>
                  <a:lnTo>
                    <a:pt x="21" y="86"/>
                  </a:lnTo>
                  <a:lnTo>
                    <a:pt x="9" y="78"/>
                  </a:lnTo>
                  <a:lnTo>
                    <a:pt x="23" y="67"/>
                  </a:lnTo>
                  <a:lnTo>
                    <a:pt x="3" y="67"/>
                  </a:lnTo>
                  <a:lnTo>
                    <a:pt x="0" y="40"/>
                  </a:lnTo>
                  <a:lnTo>
                    <a:pt x="9" y="17"/>
                  </a:lnTo>
                  <a:lnTo>
                    <a:pt x="23" y="6"/>
                  </a:lnTo>
                  <a:lnTo>
                    <a:pt x="59" y="0"/>
                  </a:lnTo>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43" name="Freeform 185">
              <a:extLst>
                <a:ext uri="{FF2B5EF4-FFF2-40B4-BE49-F238E27FC236}">
                  <a16:creationId xmlns:a16="http://schemas.microsoft.com/office/drawing/2014/main" id="{4784C38B-A3BD-5C9E-EACC-9E809FF8C432}"/>
                </a:ext>
              </a:extLst>
            </p:cNvPr>
            <p:cNvSpPr>
              <a:spLocks/>
            </p:cNvSpPr>
            <p:nvPr/>
          </p:nvSpPr>
          <p:spPr bwMode="auto">
            <a:xfrm>
              <a:off x="2103439" y="2468695"/>
              <a:ext cx="127000" cy="109588"/>
            </a:xfrm>
            <a:custGeom>
              <a:avLst/>
              <a:gdLst>
                <a:gd name="T0" fmla="*/ 27 w 80"/>
                <a:gd name="T1" fmla="*/ 0 h 69"/>
                <a:gd name="T2" fmla="*/ 44 w 80"/>
                <a:gd name="T3" fmla="*/ 6 h 69"/>
                <a:gd name="T4" fmla="*/ 69 w 80"/>
                <a:gd name="T5" fmla="*/ 2 h 69"/>
                <a:gd name="T6" fmla="*/ 73 w 80"/>
                <a:gd name="T7" fmla="*/ 9 h 69"/>
                <a:gd name="T8" fmla="*/ 61 w 80"/>
                <a:gd name="T9" fmla="*/ 23 h 69"/>
                <a:gd name="T10" fmla="*/ 80 w 80"/>
                <a:gd name="T11" fmla="*/ 34 h 69"/>
                <a:gd name="T12" fmla="*/ 80 w 80"/>
                <a:gd name="T13" fmla="*/ 57 h 69"/>
                <a:gd name="T14" fmla="*/ 55 w 80"/>
                <a:gd name="T15" fmla="*/ 69 h 69"/>
                <a:gd name="T16" fmla="*/ 42 w 80"/>
                <a:gd name="T17" fmla="*/ 67 h 69"/>
                <a:gd name="T18" fmla="*/ 32 w 80"/>
                <a:gd name="T19" fmla="*/ 55 h 69"/>
                <a:gd name="T20" fmla="*/ 0 w 80"/>
                <a:gd name="T21" fmla="*/ 36 h 69"/>
                <a:gd name="T22" fmla="*/ 0 w 80"/>
                <a:gd name="T23" fmla="*/ 27 h 69"/>
                <a:gd name="T24" fmla="*/ 27 w 80"/>
                <a:gd name="T25" fmla="*/ 31 h 69"/>
                <a:gd name="T26" fmla="*/ 13 w 80"/>
                <a:gd name="T27" fmla="*/ 11 h 69"/>
                <a:gd name="T28" fmla="*/ 27 w 80"/>
                <a:gd name="T29" fmla="*/ 0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0" h="69">
                  <a:moveTo>
                    <a:pt x="27" y="0"/>
                  </a:moveTo>
                  <a:lnTo>
                    <a:pt x="44" y="6"/>
                  </a:lnTo>
                  <a:lnTo>
                    <a:pt x="69" y="2"/>
                  </a:lnTo>
                  <a:lnTo>
                    <a:pt x="73" y="9"/>
                  </a:lnTo>
                  <a:lnTo>
                    <a:pt x="61" y="23"/>
                  </a:lnTo>
                  <a:lnTo>
                    <a:pt x="80" y="34"/>
                  </a:lnTo>
                  <a:lnTo>
                    <a:pt x="80" y="57"/>
                  </a:lnTo>
                  <a:lnTo>
                    <a:pt x="55" y="69"/>
                  </a:lnTo>
                  <a:lnTo>
                    <a:pt x="42" y="67"/>
                  </a:lnTo>
                  <a:lnTo>
                    <a:pt x="32" y="55"/>
                  </a:lnTo>
                  <a:lnTo>
                    <a:pt x="0" y="36"/>
                  </a:lnTo>
                  <a:lnTo>
                    <a:pt x="0" y="27"/>
                  </a:lnTo>
                  <a:lnTo>
                    <a:pt x="27" y="31"/>
                  </a:lnTo>
                  <a:lnTo>
                    <a:pt x="13" y="11"/>
                  </a:lnTo>
                  <a:lnTo>
                    <a:pt x="27" y="0"/>
                  </a:lnTo>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44" name="Freeform 187">
              <a:extLst>
                <a:ext uri="{FF2B5EF4-FFF2-40B4-BE49-F238E27FC236}">
                  <a16:creationId xmlns:a16="http://schemas.microsoft.com/office/drawing/2014/main" id="{59FC25A5-60B4-8FA1-BF6C-F58F305CA04F}"/>
                </a:ext>
              </a:extLst>
            </p:cNvPr>
            <p:cNvSpPr>
              <a:spLocks/>
            </p:cNvSpPr>
            <p:nvPr/>
          </p:nvSpPr>
          <p:spPr bwMode="auto">
            <a:xfrm>
              <a:off x="7461250" y="2468695"/>
              <a:ext cx="82550" cy="27000"/>
            </a:xfrm>
            <a:custGeom>
              <a:avLst/>
              <a:gdLst>
                <a:gd name="T0" fmla="*/ 31 w 52"/>
                <a:gd name="T1" fmla="*/ 0 h 17"/>
                <a:gd name="T2" fmla="*/ 50 w 52"/>
                <a:gd name="T3" fmla="*/ 9 h 17"/>
                <a:gd name="T4" fmla="*/ 52 w 52"/>
                <a:gd name="T5" fmla="*/ 17 h 17"/>
                <a:gd name="T6" fmla="*/ 31 w 52"/>
                <a:gd name="T7" fmla="*/ 17 h 17"/>
                <a:gd name="T8" fmla="*/ 2 w 52"/>
                <a:gd name="T9" fmla="*/ 13 h 17"/>
                <a:gd name="T10" fmla="*/ 0 w 52"/>
                <a:gd name="T11" fmla="*/ 11 h 17"/>
                <a:gd name="T12" fmla="*/ 13 w 52"/>
                <a:gd name="T13" fmla="*/ 2 h 17"/>
                <a:gd name="T14" fmla="*/ 31 w 52"/>
                <a:gd name="T15" fmla="*/ 0 h 1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2" h="17">
                  <a:moveTo>
                    <a:pt x="31" y="0"/>
                  </a:moveTo>
                  <a:lnTo>
                    <a:pt x="50" y="9"/>
                  </a:lnTo>
                  <a:lnTo>
                    <a:pt x="52" y="17"/>
                  </a:lnTo>
                  <a:lnTo>
                    <a:pt x="31" y="17"/>
                  </a:lnTo>
                  <a:lnTo>
                    <a:pt x="2" y="13"/>
                  </a:lnTo>
                  <a:lnTo>
                    <a:pt x="0" y="11"/>
                  </a:lnTo>
                  <a:lnTo>
                    <a:pt x="13" y="2"/>
                  </a:lnTo>
                  <a:lnTo>
                    <a:pt x="31" y="0"/>
                  </a:lnTo>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45" name="Freeform 189">
              <a:extLst>
                <a:ext uri="{FF2B5EF4-FFF2-40B4-BE49-F238E27FC236}">
                  <a16:creationId xmlns:a16="http://schemas.microsoft.com/office/drawing/2014/main" id="{2825EC36-0A8D-8283-4066-B5B78D635A54}"/>
                </a:ext>
              </a:extLst>
            </p:cNvPr>
            <p:cNvSpPr>
              <a:spLocks/>
            </p:cNvSpPr>
            <p:nvPr/>
          </p:nvSpPr>
          <p:spPr bwMode="auto">
            <a:xfrm>
              <a:off x="2243139" y="2455990"/>
              <a:ext cx="122238" cy="88940"/>
            </a:xfrm>
            <a:custGeom>
              <a:avLst/>
              <a:gdLst>
                <a:gd name="T0" fmla="*/ 21 w 77"/>
                <a:gd name="T1" fmla="*/ 0 h 56"/>
                <a:gd name="T2" fmla="*/ 52 w 77"/>
                <a:gd name="T3" fmla="*/ 0 h 56"/>
                <a:gd name="T4" fmla="*/ 77 w 77"/>
                <a:gd name="T5" fmla="*/ 8 h 56"/>
                <a:gd name="T6" fmla="*/ 58 w 77"/>
                <a:gd name="T7" fmla="*/ 31 h 56"/>
                <a:gd name="T8" fmla="*/ 40 w 77"/>
                <a:gd name="T9" fmla="*/ 37 h 56"/>
                <a:gd name="T10" fmla="*/ 25 w 77"/>
                <a:gd name="T11" fmla="*/ 56 h 56"/>
                <a:gd name="T12" fmla="*/ 10 w 77"/>
                <a:gd name="T13" fmla="*/ 56 h 56"/>
                <a:gd name="T14" fmla="*/ 0 w 77"/>
                <a:gd name="T15" fmla="*/ 33 h 56"/>
                <a:gd name="T16" fmla="*/ 0 w 77"/>
                <a:gd name="T17" fmla="*/ 25 h 56"/>
                <a:gd name="T18" fmla="*/ 2 w 77"/>
                <a:gd name="T19" fmla="*/ 19 h 56"/>
                <a:gd name="T20" fmla="*/ 8 w 77"/>
                <a:gd name="T21" fmla="*/ 8 h 56"/>
                <a:gd name="T22" fmla="*/ 21 w 77"/>
                <a:gd name="T23" fmla="*/ 0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7" h="56">
                  <a:moveTo>
                    <a:pt x="21" y="0"/>
                  </a:moveTo>
                  <a:lnTo>
                    <a:pt x="52" y="0"/>
                  </a:lnTo>
                  <a:lnTo>
                    <a:pt x="77" y="8"/>
                  </a:lnTo>
                  <a:lnTo>
                    <a:pt x="58" y="31"/>
                  </a:lnTo>
                  <a:lnTo>
                    <a:pt x="40" y="37"/>
                  </a:lnTo>
                  <a:lnTo>
                    <a:pt x="25" y="56"/>
                  </a:lnTo>
                  <a:lnTo>
                    <a:pt x="10" y="56"/>
                  </a:lnTo>
                  <a:lnTo>
                    <a:pt x="0" y="33"/>
                  </a:lnTo>
                  <a:lnTo>
                    <a:pt x="0" y="25"/>
                  </a:lnTo>
                  <a:lnTo>
                    <a:pt x="2" y="19"/>
                  </a:lnTo>
                  <a:lnTo>
                    <a:pt x="8" y="8"/>
                  </a:lnTo>
                  <a:lnTo>
                    <a:pt x="21" y="0"/>
                  </a:lnTo>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46" name="Freeform 191">
              <a:extLst>
                <a:ext uri="{FF2B5EF4-FFF2-40B4-BE49-F238E27FC236}">
                  <a16:creationId xmlns:a16="http://schemas.microsoft.com/office/drawing/2014/main" id="{F92674C9-B057-83CD-A22A-8A6ECB60B39D}"/>
                </a:ext>
              </a:extLst>
            </p:cNvPr>
            <p:cNvSpPr>
              <a:spLocks/>
            </p:cNvSpPr>
            <p:nvPr/>
          </p:nvSpPr>
          <p:spPr bwMode="auto">
            <a:xfrm>
              <a:off x="1585914" y="2441696"/>
              <a:ext cx="227013" cy="149292"/>
            </a:xfrm>
            <a:custGeom>
              <a:avLst/>
              <a:gdLst>
                <a:gd name="T0" fmla="*/ 59 w 143"/>
                <a:gd name="T1" fmla="*/ 0 h 94"/>
                <a:gd name="T2" fmla="*/ 80 w 143"/>
                <a:gd name="T3" fmla="*/ 5 h 94"/>
                <a:gd name="T4" fmla="*/ 115 w 143"/>
                <a:gd name="T5" fmla="*/ 7 h 94"/>
                <a:gd name="T6" fmla="*/ 128 w 143"/>
                <a:gd name="T7" fmla="*/ 17 h 94"/>
                <a:gd name="T8" fmla="*/ 143 w 143"/>
                <a:gd name="T9" fmla="*/ 26 h 94"/>
                <a:gd name="T10" fmla="*/ 126 w 143"/>
                <a:gd name="T11" fmla="*/ 32 h 94"/>
                <a:gd name="T12" fmla="*/ 92 w 143"/>
                <a:gd name="T13" fmla="*/ 51 h 94"/>
                <a:gd name="T14" fmla="*/ 74 w 143"/>
                <a:gd name="T15" fmla="*/ 69 h 94"/>
                <a:gd name="T16" fmla="*/ 74 w 143"/>
                <a:gd name="T17" fmla="*/ 82 h 94"/>
                <a:gd name="T18" fmla="*/ 38 w 143"/>
                <a:gd name="T19" fmla="*/ 94 h 94"/>
                <a:gd name="T20" fmla="*/ 30 w 143"/>
                <a:gd name="T21" fmla="*/ 84 h 94"/>
                <a:gd name="T22" fmla="*/ 0 w 143"/>
                <a:gd name="T23" fmla="*/ 69 h 94"/>
                <a:gd name="T24" fmla="*/ 3 w 143"/>
                <a:gd name="T25" fmla="*/ 57 h 94"/>
                <a:gd name="T26" fmla="*/ 15 w 143"/>
                <a:gd name="T27" fmla="*/ 40 h 94"/>
                <a:gd name="T28" fmla="*/ 26 w 143"/>
                <a:gd name="T29" fmla="*/ 21 h 94"/>
                <a:gd name="T30" fmla="*/ 13 w 143"/>
                <a:gd name="T31" fmla="*/ 3 h 94"/>
                <a:gd name="T32" fmla="*/ 59 w 143"/>
                <a:gd name="T33" fmla="*/ 0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3" h="94">
                  <a:moveTo>
                    <a:pt x="59" y="0"/>
                  </a:moveTo>
                  <a:lnTo>
                    <a:pt x="80" y="5"/>
                  </a:lnTo>
                  <a:lnTo>
                    <a:pt x="115" y="7"/>
                  </a:lnTo>
                  <a:lnTo>
                    <a:pt x="128" y="17"/>
                  </a:lnTo>
                  <a:lnTo>
                    <a:pt x="143" y="26"/>
                  </a:lnTo>
                  <a:lnTo>
                    <a:pt x="126" y="32"/>
                  </a:lnTo>
                  <a:lnTo>
                    <a:pt x="92" y="51"/>
                  </a:lnTo>
                  <a:lnTo>
                    <a:pt x="74" y="69"/>
                  </a:lnTo>
                  <a:lnTo>
                    <a:pt x="74" y="82"/>
                  </a:lnTo>
                  <a:lnTo>
                    <a:pt x="38" y="94"/>
                  </a:lnTo>
                  <a:lnTo>
                    <a:pt x="30" y="84"/>
                  </a:lnTo>
                  <a:lnTo>
                    <a:pt x="0" y="69"/>
                  </a:lnTo>
                  <a:lnTo>
                    <a:pt x="3" y="57"/>
                  </a:lnTo>
                  <a:lnTo>
                    <a:pt x="15" y="40"/>
                  </a:lnTo>
                  <a:lnTo>
                    <a:pt x="26" y="21"/>
                  </a:lnTo>
                  <a:lnTo>
                    <a:pt x="13" y="3"/>
                  </a:lnTo>
                  <a:lnTo>
                    <a:pt x="59" y="0"/>
                  </a:lnTo>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47" name="Freeform 193">
              <a:extLst>
                <a:ext uri="{FF2B5EF4-FFF2-40B4-BE49-F238E27FC236}">
                  <a16:creationId xmlns:a16="http://schemas.microsoft.com/office/drawing/2014/main" id="{5473C241-BABE-7B00-C60A-ED867F5868B5}"/>
                </a:ext>
              </a:extLst>
            </p:cNvPr>
            <p:cNvSpPr>
              <a:spLocks/>
            </p:cNvSpPr>
            <p:nvPr/>
          </p:nvSpPr>
          <p:spPr bwMode="auto">
            <a:xfrm>
              <a:off x="7597775" y="2395637"/>
              <a:ext cx="104775" cy="36530"/>
            </a:xfrm>
            <a:custGeom>
              <a:avLst/>
              <a:gdLst>
                <a:gd name="T0" fmla="*/ 4 w 66"/>
                <a:gd name="T1" fmla="*/ 0 h 23"/>
                <a:gd name="T2" fmla="*/ 31 w 66"/>
                <a:gd name="T3" fmla="*/ 6 h 23"/>
                <a:gd name="T4" fmla="*/ 66 w 66"/>
                <a:gd name="T5" fmla="*/ 11 h 23"/>
                <a:gd name="T6" fmla="*/ 50 w 66"/>
                <a:gd name="T7" fmla="*/ 23 h 23"/>
                <a:gd name="T8" fmla="*/ 27 w 66"/>
                <a:gd name="T9" fmla="*/ 19 h 23"/>
                <a:gd name="T10" fmla="*/ 0 w 66"/>
                <a:gd name="T11" fmla="*/ 9 h 23"/>
                <a:gd name="T12" fmla="*/ 4 w 66"/>
                <a:gd name="T13" fmla="*/ 0 h 23"/>
              </a:gdLst>
              <a:ahLst/>
              <a:cxnLst>
                <a:cxn ang="0">
                  <a:pos x="T0" y="T1"/>
                </a:cxn>
                <a:cxn ang="0">
                  <a:pos x="T2" y="T3"/>
                </a:cxn>
                <a:cxn ang="0">
                  <a:pos x="T4" y="T5"/>
                </a:cxn>
                <a:cxn ang="0">
                  <a:pos x="T6" y="T7"/>
                </a:cxn>
                <a:cxn ang="0">
                  <a:pos x="T8" y="T9"/>
                </a:cxn>
                <a:cxn ang="0">
                  <a:pos x="T10" y="T11"/>
                </a:cxn>
                <a:cxn ang="0">
                  <a:pos x="T12" y="T13"/>
                </a:cxn>
              </a:cxnLst>
              <a:rect l="0" t="0" r="r" b="b"/>
              <a:pathLst>
                <a:path w="66" h="23">
                  <a:moveTo>
                    <a:pt x="4" y="0"/>
                  </a:moveTo>
                  <a:lnTo>
                    <a:pt x="31" y="6"/>
                  </a:lnTo>
                  <a:lnTo>
                    <a:pt x="66" y="11"/>
                  </a:lnTo>
                  <a:lnTo>
                    <a:pt x="50" y="23"/>
                  </a:lnTo>
                  <a:lnTo>
                    <a:pt x="27" y="19"/>
                  </a:lnTo>
                  <a:lnTo>
                    <a:pt x="0" y="9"/>
                  </a:lnTo>
                  <a:lnTo>
                    <a:pt x="4" y="0"/>
                  </a:lnTo>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48" name="Freeform 195">
              <a:extLst>
                <a:ext uri="{FF2B5EF4-FFF2-40B4-BE49-F238E27FC236}">
                  <a16:creationId xmlns:a16="http://schemas.microsoft.com/office/drawing/2014/main" id="{2CEB5E5C-673C-85D4-459E-DEAC14680A0E}"/>
                </a:ext>
              </a:extLst>
            </p:cNvPr>
            <p:cNvSpPr>
              <a:spLocks/>
            </p:cNvSpPr>
            <p:nvPr/>
          </p:nvSpPr>
          <p:spPr bwMode="auto">
            <a:xfrm>
              <a:off x="2227264" y="2389285"/>
              <a:ext cx="71438" cy="46059"/>
            </a:xfrm>
            <a:custGeom>
              <a:avLst/>
              <a:gdLst>
                <a:gd name="T0" fmla="*/ 27 w 45"/>
                <a:gd name="T1" fmla="*/ 0 h 29"/>
                <a:gd name="T2" fmla="*/ 41 w 45"/>
                <a:gd name="T3" fmla="*/ 10 h 29"/>
                <a:gd name="T4" fmla="*/ 45 w 45"/>
                <a:gd name="T5" fmla="*/ 19 h 29"/>
                <a:gd name="T6" fmla="*/ 37 w 45"/>
                <a:gd name="T7" fmla="*/ 29 h 29"/>
                <a:gd name="T8" fmla="*/ 16 w 45"/>
                <a:gd name="T9" fmla="*/ 27 h 29"/>
                <a:gd name="T10" fmla="*/ 0 w 45"/>
                <a:gd name="T11" fmla="*/ 21 h 29"/>
                <a:gd name="T12" fmla="*/ 6 w 45"/>
                <a:gd name="T13" fmla="*/ 8 h 29"/>
                <a:gd name="T14" fmla="*/ 27 w 45"/>
                <a:gd name="T15" fmla="*/ 0 h 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5" h="29">
                  <a:moveTo>
                    <a:pt x="27" y="0"/>
                  </a:moveTo>
                  <a:lnTo>
                    <a:pt x="41" y="10"/>
                  </a:lnTo>
                  <a:lnTo>
                    <a:pt x="45" y="19"/>
                  </a:lnTo>
                  <a:lnTo>
                    <a:pt x="37" y="29"/>
                  </a:lnTo>
                  <a:lnTo>
                    <a:pt x="16" y="27"/>
                  </a:lnTo>
                  <a:lnTo>
                    <a:pt x="0" y="21"/>
                  </a:lnTo>
                  <a:lnTo>
                    <a:pt x="6" y="8"/>
                  </a:lnTo>
                  <a:lnTo>
                    <a:pt x="27" y="0"/>
                  </a:lnTo>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49" name="Freeform 197">
              <a:extLst>
                <a:ext uri="{FF2B5EF4-FFF2-40B4-BE49-F238E27FC236}">
                  <a16:creationId xmlns:a16="http://schemas.microsoft.com/office/drawing/2014/main" id="{30DB1D98-A293-4463-0455-D5D09D7C84F2}"/>
                </a:ext>
              </a:extLst>
            </p:cNvPr>
            <p:cNvSpPr>
              <a:spLocks/>
            </p:cNvSpPr>
            <p:nvPr/>
          </p:nvSpPr>
          <p:spPr bwMode="auto">
            <a:xfrm>
              <a:off x="7397750" y="2367049"/>
              <a:ext cx="179388" cy="68294"/>
            </a:xfrm>
            <a:custGeom>
              <a:avLst/>
              <a:gdLst>
                <a:gd name="T0" fmla="*/ 25 w 113"/>
                <a:gd name="T1" fmla="*/ 0 h 43"/>
                <a:gd name="T2" fmla="*/ 61 w 113"/>
                <a:gd name="T3" fmla="*/ 0 h 43"/>
                <a:gd name="T4" fmla="*/ 113 w 113"/>
                <a:gd name="T5" fmla="*/ 16 h 43"/>
                <a:gd name="T6" fmla="*/ 101 w 113"/>
                <a:gd name="T7" fmla="*/ 37 h 43"/>
                <a:gd name="T8" fmla="*/ 50 w 113"/>
                <a:gd name="T9" fmla="*/ 37 h 43"/>
                <a:gd name="T10" fmla="*/ 27 w 113"/>
                <a:gd name="T11" fmla="*/ 43 h 43"/>
                <a:gd name="T12" fmla="*/ 0 w 113"/>
                <a:gd name="T13" fmla="*/ 25 h 43"/>
                <a:gd name="T14" fmla="*/ 7 w 113"/>
                <a:gd name="T15" fmla="*/ 4 h 43"/>
                <a:gd name="T16" fmla="*/ 25 w 113"/>
                <a:gd name="T17"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3" h="43">
                  <a:moveTo>
                    <a:pt x="25" y="0"/>
                  </a:moveTo>
                  <a:lnTo>
                    <a:pt x="61" y="0"/>
                  </a:lnTo>
                  <a:lnTo>
                    <a:pt x="113" y="16"/>
                  </a:lnTo>
                  <a:lnTo>
                    <a:pt x="101" y="37"/>
                  </a:lnTo>
                  <a:lnTo>
                    <a:pt x="50" y="37"/>
                  </a:lnTo>
                  <a:lnTo>
                    <a:pt x="27" y="43"/>
                  </a:lnTo>
                  <a:lnTo>
                    <a:pt x="0" y="25"/>
                  </a:lnTo>
                  <a:lnTo>
                    <a:pt x="7" y="4"/>
                  </a:lnTo>
                  <a:lnTo>
                    <a:pt x="25" y="0"/>
                  </a:lnTo>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50" name="Freeform 199">
              <a:extLst>
                <a:ext uri="{FF2B5EF4-FFF2-40B4-BE49-F238E27FC236}">
                  <a16:creationId xmlns:a16="http://schemas.microsoft.com/office/drawing/2014/main" id="{00F19F8C-93B7-76EA-FA9D-DD9A3F40DC54}"/>
                </a:ext>
              </a:extLst>
            </p:cNvPr>
            <p:cNvSpPr>
              <a:spLocks/>
            </p:cNvSpPr>
            <p:nvPr/>
          </p:nvSpPr>
          <p:spPr bwMode="auto">
            <a:xfrm>
              <a:off x="2100264" y="2340050"/>
              <a:ext cx="109538" cy="82587"/>
            </a:xfrm>
            <a:custGeom>
              <a:avLst/>
              <a:gdLst>
                <a:gd name="T0" fmla="*/ 56 w 69"/>
                <a:gd name="T1" fmla="*/ 0 h 52"/>
                <a:gd name="T2" fmla="*/ 67 w 69"/>
                <a:gd name="T3" fmla="*/ 14 h 52"/>
                <a:gd name="T4" fmla="*/ 69 w 69"/>
                <a:gd name="T5" fmla="*/ 27 h 52"/>
                <a:gd name="T6" fmla="*/ 61 w 69"/>
                <a:gd name="T7" fmla="*/ 48 h 52"/>
                <a:gd name="T8" fmla="*/ 38 w 69"/>
                <a:gd name="T9" fmla="*/ 52 h 52"/>
                <a:gd name="T10" fmla="*/ 23 w 69"/>
                <a:gd name="T11" fmla="*/ 46 h 52"/>
                <a:gd name="T12" fmla="*/ 23 w 69"/>
                <a:gd name="T13" fmla="*/ 31 h 52"/>
                <a:gd name="T14" fmla="*/ 2 w 69"/>
                <a:gd name="T15" fmla="*/ 33 h 52"/>
                <a:gd name="T16" fmla="*/ 0 w 69"/>
                <a:gd name="T17" fmla="*/ 12 h 52"/>
                <a:gd name="T18" fmla="*/ 15 w 69"/>
                <a:gd name="T19" fmla="*/ 12 h 52"/>
                <a:gd name="T20" fmla="*/ 36 w 69"/>
                <a:gd name="T21" fmla="*/ 2 h 52"/>
                <a:gd name="T22" fmla="*/ 54 w 69"/>
                <a:gd name="T23" fmla="*/ 4 h 52"/>
                <a:gd name="T24" fmla="*/ 56 w 69"/>
                <a:gd name="T25"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52">
                  <a:moveTo>
                    <a:pt x="56" y="0"/>
                  </a:moveTo>
                  <a:lnTo>
                    <a:pt x="67" y="14"/>
                  </a:lnTo>
                  <a:lnTo>
                    <a:pt x="69" y="27"/>
                  </a:lnTo>
                  <a:lnTo>
                    <a:pt x="61" y="48"/>
                  </a:lnTo>
                  <a:lnTo>
                    <a:pt x="38" y="52"/>
                  </a:lnTo>
                  <a:lnTo>
                    <a:pt x="23" y="46"/>
                  </a:lnTo>
                  <a:lnTo>
                    <a:pt x="23" y="31"/>
                  </a:lnTo>
                  <a:lnTo>
                    <a:pt x="2" y="33"/>
                  </a:lnTo>
                  <a:lnTo>
                    <a:pt x="0" y="12"/>
                  </a:lnTo>
                  <a:lnTo>
                    <a:pt x="15" y="12"/>
                  </a:lnTo>
                  <a:lnTo>
                    <a:pt x="36" y="2"/>
                  </a:lnTo>
                  <a:lnTo>
                    <a:pt x="54" y="4"/>
                  </a:lnTo>
                  <a:lnTo>
                    <a:pt x="56" y="0"/>
                  </a:lnTo>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51" name="Freeform 201">
              <a:extLst>
                <a:ext uri="{FF2B5EF4-FFF2-40B4-BE49-F238E27FC236}">
                  <a16:creationId xmlns:a16="http://schemas.microsoft.com/office/drawing/2014/main" id="{0E97D0CF-6486-8907-A65C-37681632A5D2}"/>
                </a:ext>
              </a:extLst>
            </p:cNvPr>
            <p:cNvSpPr>
              <a:spLocks/>
            </p:cNvSpPr>
            <p:nvPr/>
          </p:nvSpPr>
          <p:spPr bwMode="auto">
            <a:xfrm>
              <a:off x="1765302" y="2336874"/>
              <a:ext cx="265113" cy="106411"/>
            </a:xfrm>
            <a:custGeom>
              <a:avLst/>
              <a:gdLst>
                <a:gd name="T0" fmla="*/ 113 w 167"/>
                <a:gd name="T1" fmla="*/ 0 h 67"/>
                <a:gd name="T2" fmla="*/ 126 w 167"/>
                <a:gd name="T3" fmla="*/ 4 h 67"/>
                <a:gd name="T4" fmla="*/ 132 w 167"/>
                <a:gd name="T5" fmla="*/ 18 h 67"/>
                <a:gd name="T6" fmla="*/ 136 w 167"/>
                <a:gd name="T7" fmla="*/ 27 h 67"/>
                <a:gd name="T8" fmla="*/ 151 w 167"/>
                <a:gd name="T9" fmla="*/ 21 h 67"/>
                <a:gd name="T10" fmla="*/ 165 w 167"/>
                <a:gd name="T11" fmla="*/ 23 h 67"/>
                <a:gd name="T12" fmla="*/ 167 w 167"/>
                <a:gd name="T13" fmla="*/ 37 h 67"/>
                <a:gd name="T14" fmla="*/ 159 w 167"/>
                <a:gd name="T15" fmla="*/ 50 h 67"/>
                <a:gd name="T16" fmla="*/ 113 w 167"/>
                <a:gd name="T17" fmla="*/ 56 h 67"/>
                <a:gd name="T18" fmla="*/ 77 w 167"/>
                <a:gd name="T19" fmla="*/ 67 h 67"/>
                <a:gd name="T20" fmla="*/ 55 w 167"/>
                <a:gd name="T21" fmla="*/ 67 h 67"/>
                <a:gd name="T22" fmla="*/ 54 w 167"/>
                <a:gd name="T23" fmla="*/ 58 h 67"/>
                <a:gd name="T24" fmla="*/ 82 w 167"/>
                <a:gd name="T25" fmla="*/ 46 h 67"/>
                <a:gd name="T26" fmla="*/ 19 w 167"/>
                <a:gd name="T27" fmla="*/ 50 h 67"/>
                <a:gd name="T28" fmla="*/ 0 w 167"/>
                <a:gd name="T29" fmla="*/ 46 h 67"/>
                <a:gd name="T30" fmla="*/ 19 w 167"/>
                <a:gd name="T31" fmla="*/ 18 h 67"/>
                <a:gd name="T32" fmla="*/ 32 w 167"/>
                <a:gd name="T33" fmla="*/ 8 h 67"/>
                <a:gd name="T34" fmla="*/ 73 w 167"/>
                <a:gd name="T35" fmla="*/ 19 h 67"/>
                <a:gd name="T36" fmla="*/ 96 w 167"/>
                <a:gd name="T37" fmla="*/ 35 h 67"/>
                <a:gd name="T38" fmla="*/ 121 w 167"/>
                <a:gd name="T39" fmla="*/ 37 h 67"/>
                <a:gd name="T40" fmla="*/ 100 w 167"/>
                <a:gd name="T41" fmla="*/ 10 h 67"/>
                <a:gd name="T42" fmla="*/ 113 w 167"/>
                <a:gd name="T43" fmla="*/ 0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67" h="67">
                  <a:moveTo>
                    <a:pt x="113" y="0"/>
                  </a:moveTo>
                  <a:lnTo>
                    <a:pt x="126" y="4"/>
                  </a:lnTo>
                  <a:lnTo>
                    <a:pt x="132" y="18"/>
                  </a:lnTo>
                  <a:lnTo>
                    <a:pt x="136" y="27"/>
                  </a:lnTo>
                  <a:lnTo>
                    <a:pt x="151" y="21"/>
                  </a:lnTo>
                  <a:lnTo>
                    <a:pt x="165" y="23"/>
                  </a:lnTo>
                  <a:lnTo>
                    <a:pt x="167" y="37"/>
                  </a:lnTo>
                  <a:lnTo>
                    <a:pt x="159" y="50"/>
                  </a:lnTo>
                  <a:lnTo>
                    <a:pt x="113" y="56"/>
                  </a:lnTo>
                  <a:lnTo>
                    <a:pt x="77" y="67"/>
                  </a:lnTo>
                  <a:lnTo>
                    <a:pt x="55" y="67"/>
                  </a:lnTo>
                  <a:lnTo>
                    <a:pt x="54" y="58"/>
                  </a:lnTo>
                  <a:lnTo>
                    <a:pt x="82" y="46"/>
                  </a:lnTo>
                  <a:lnTo>
                    <a:pt x="19" y="50"/>
                  </a:lnTo>
                  <a:lnTo>
                    <a:pt x="0" y="46"/>
                  </a:lnTo>
                  <a:lnTo>
                    <a:pt x="19" y="18"/>
                  </a:lnTo>
                  <a:lnTo>
                    <a:pt x="32" y="8"/>
                  </a:lnTo>
                  <a:lnTo>
                    <a:pt x="73" y="19"/>
                  </a:lnTo>
                  <a:lnTo>
                    <a:pt x="96" y="35"/>
                  </a:lnTo>
                  <a:lnTo>
                    <a:pt x="121" y="37"/>
                  </a:lnTo>
                  <a:lnTo>
                    <a:pt x="100" y="10"/>
                  </a:lnTo>
                  <a:lnTo>
                    <a:pt x="113" y="0"/>
                  </a:lnTo>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52" name="Freeform 203">
              <a:extLst>
                <a:ext uri="{FF2B5EF4-FFF2-40B4-BE49-F238E27FC236}">
                  <a16:creationId xmlns:a16="http://schemas.microsoft.com/office/drawing/2014/main" id="{358BDC39-F204-029F-784E-BB4C46AE31CA}"/>
                </a:ext>
              </a:extLst>
            </p:cNvPr>
            <p:cNvSpPr>
              <a:spLocks/>
            </p:cNvSpPr>
            <p:nvPr/>
          </p:nvSpPr>
          <p:spPr bwMode="auto">
            <a:xfrm>
              <a:off x="5505451" y="2328932"/>
              <a:ext cx="387350" cy="273173"/>
            </a:xfrm>
            <a:custGeom>
              <a:avLst/>
              <a:gdLst>
                <a:gd name="T0" fmla="*/ 234 w 244"/>
                <a:gd name="T1" fmla="*/ 0 h 172"/>
                <a:gd name="T2" fmla="*/ 244 w 244"/>
                <a:gd name="T3" fmla="*/ 13 h 172"/>
                <a:gd name="T4" fmla="*/ 234 w 244"/>
                <a:gd name="T5" fmla="*/ 23 h 172"/>
                <a:gd name="T6" fmla="*/ 184 w 244"/>
                <a:gd name="T7" fmla="*/ 34 h 172"/>
                <a:gd name="T8" fmla="*/ 142 w 244"/>
                <a:gd name="T9" fmla="*/ 49 h 172"/>
                <a:gd name="T10" fmla="*/ 98 w 244"/>
                <a:gd name="T11" fmla="*/ 74 h 172"/>
                <a:gd name="T12" fmla="*/ 77 w 244"/>
                <a:gd name="T13" fmla="*/ 101 h 172"/>
                <a:gd name="T14" fmla="*/ 56 w 244"/>
                <a:gd name="T15" fmla="*/ 128 h 172"/>
                <a:gd name="T16" fmla="*/ 58 w 244"/>
                <a:gd name="T17" fmla="*/ 149 h 172"/>
                <a:gd name="T18" fmla="*/ 85 w 244"/>
                <a:gd name="T19" fmla="*/ 168 h 172"/>
                <a:gd name="T20" fmla="*/ 77 w 244"/>
                <a:gd name="T21" fmla="*/ 172 h 172"/>
                <a:gd name="T22" fmla="*/ 31 w 244"/>
                <a:gd name="T23" fmla="*/ 168 h 172"/>
                <a:gd name="T24" fmla="*/ 29 w 244"/>
                <a:gd name="T25" fmla="*/ 157 h 172"/>
                <a:gd name="T26" fmla="*/ 2 w 244"/>
                <a:gd name="T27" fmla="*/ 151 h 172"/>
                <a:gd name="T28" fmla="*/ 0 w 244"/>
                <a:gd name="T29" fmla="*/ 136 h 172"/>
                <a:gd name="T30" fmla="*/ 15 w 244"/>
                <a:gd name="T31" fmla="*/ 130 h 172"/>
                <a:gd name="T32" fmla="*/ 14 w 244"/>
                <a:gd name="T33" fmla="*/ 115 h 172"/>
                <a:gd name="T34" fmla="*/ 42 w 244"/>
                <a:gd name="T35" fmla="*/ 94 h 172"/>
                <a:gd name="T36" fmla="*/ 29 w 244"/>
                <a:gd name="T37" fmla="*/ 90 h 172"/>
                <a:gd name="T38" fmla="*/ 62 w 244"/>
                <a:gd name="T39" fmla="*/ 67 h 172"/>
                <a:gd name="T40" fmla="*/ 58 w 244"/>
                <a:gd name="T41" fmla="*/ 53 h 172"/>
                <a:gd name="T42" fmla="*/ 90 w 244"/>
                <a:gd name="T43" fmla="*/ 38 h 172"/>
                <a:gd name="T44" fmla="*/ 134 w 244"/>
                <a:gd name="T45" fmla="*/ 21 h 172"/>
                <a:gd name="T46" fmla="*/ 182 w 244"/>
                <a:gd name="T47" fmla="*/ 15 h 172"/>
                <a:gd name="T48" fmla="*/ 205 w 244"/>
                <a:gd name="T49" fmla="*/ 5 h 172"/>
                <a:gd name="T50" fmla="*/ 234 w 244"/>
                <a:gd name="T51" fmla="*/ 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44" h="172">
                  <a:moveTo>
                    <a:pt x="234" y="0"/>
                  </a:moveTo>
                  <a:lnTo>
                    <a:pt x="244" y="13"/>
                  </a:lnTo>
                  <a:lnTo>
                    <a:pt x="234" y="23"/>
                  </a:lnTo>
                  <a:lnTo>
                    <a:pt x="184" y="34"/>
                  </a:lnTo>
                  <a:lnTo>
                    <a:pt x="142" y="49"/>
                  </a:lnTo>
                  <a:lnTo>
                    <a:pt x="98" y="74"/>
                  </a:lnTo>
                  <a:lnTo>
                    <a:pt x="77" y="101"/>
                  </a:lnTo>
                  <a:lnTo>
                    <a:pt x="56" y="128"/>
                  </a:lnTo>
                  <a:lnTo>
                    <a:pt x="58" y="149"/>
                  </a:lnTo>
                  <a:lnTo>
                    <a:pt x="85" y="168"/>
                  </a:lnTo>
                  <a:lnTo>
                    <a:pt x="77" y="172"/>
                  </a:lnTo>
                  <a:lnTo>
                    <a:pt x="31" y="168"/>
                  </a:lnTo>
                  <a:lnTo>
                    <a:pt x="29" y="157"/>
                  </a:lnTo>
                  <a:lnTo>
                    <a:pt x="2" y="151"/>
                  </a:lnTo>
                  <a:lnTo>
                    <a:pt x="0" y="136"/>
                  </a:lnTo>
                  <a:lnTo>
                    <a:pt x="15" y="130"/>
                  </a:lnTo>
                  <a:lnTo>
                    <a:pt x="14" y="115"/>
                  </a:lnTo>
                  <a:lnTo>
                    <a:pt x="42" y="94"/>
                  </a:lnTo>
                  <a:lnTo>
                    <a:pt x="29" y="90"/>
                  </a:lnTo>
                  <a:lnTo>
                    <a:pt x="62" y="67"/>
                  </a:lnTo>
                  <a:lnTo>
                    <a:pt x="58" y="53"/>
                  </a:lnTo>
                  <a:lnTo>
                    <a:pt x="90" y="38"/>
                  </a:lnTo>
                  <a:lnTo>
                    <a:pt x="134" y="21"/>
                  </a:lnTo>
                  <a:lnTo>
                    <a:pt x="182" y="15"/>
                  </a:lnTo>
                  <a:lnTo>
                    <a:pt x="205" y="5"/>
                  </a:lnTo>
                  <a:lnTo>
                    <a:pt x="234" y="0"/>
                  </a:lnTo>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53" name="Freeform 205">
              <a:extLst>
                <a:ext uri="{FF2B5EF4-FFF2-40B4-BE49-F238E27FC236}">
                  <a16:creationId xmlns:a16="http://schemas.microsoft.com/office/drawing/2014/main" id="{36CD4F0C-32CF-0894-E240-78B3B1CADAD4}"/>
                </a:ext>
              </a:extLst>
            </p:cNvPr>
            <p:cNvSpPr>
              <a:spLocks/>
            </p:cNvSpPr>
            <p:nvPr/>
          </p:nvSpPr>
          <p:spPr bwMode="auto">
            <a:xfrm>
              <a:off x="2219327" y="2319403"/>
              <a:ext cx="382588" cy="123881"/>
            </a:xfrm>
            <a:custGeom>
              <a:avLst/>
              <a:gdLst>
                <a:gd name="T0" fmla="*/ 7 w 241"/>
                <a:gd name="T1" fmla="*/ 0 h 78"/>
                <a:gd name="T2" fmla="*/ 36 w 241"/>
                <a:gd name="T3" fmla="*/ 2 h 78"/>
                <a:gd name="T4" fmla="*/ 50 w 241"/>
                <a:gd name="T5" fmla="*/ 11 h 78"/>
                <a:gd name="T6" fmla="*/ 76 w 241"/>
                <a:gd name="T7" fmla="*/ 11 h 78"/>
                <a:gd name="T8" fmla="*/ 90 w 241"/>
                <a:gd name="T9" fmla="*/ 21 h 78"/>
                <a:gd name="T10" fmla="*/ 86 w 241"/>
                <a:gd name="T11" fmla="*/ 30 h 78"/>
                <a:gd name="T12" fmla="*/ 101 w 241"/>
                <a:gd name="T13" fmla="*/ 38 h 78"/>
                <a:gd name="T14" fmla="*/ 111 w 241"/>
                <a:gd name="T15" fmla="*/ 44 h 78"/>
                <a:gd name="T16" fmla="*/ 130 w 241"/>
                <a:gd name="T17" fmla="*/ 46 h 78"/>
                <a:gd name="T18" fmla="*/ 149 w 241"/>
                <a:gd name="T19" fmla="*/ 48 h 78"/>
                <a:gd name="T20" fmla="*/ 172 w 241"/>
                <a:gd name="T21" fmla="*/ 42 h 78"/>
                <a:gd name="T22" fmla="*/ 201 w 241"/>
                <a:gd name="T23" fmla="*/ 38 h 78"/>
                <a:gd name="T24" fmla="*/ 224 w 241"/>
                <a:gd name="T25" fmla="*/ 40 h 78"/>
                <a:gd name="T26" fmla="*/ 238 w 241"/>
                <a:gd name="T27" fmla="*/ 54 h 78"/>
                <a:gd name="T28" fmla="*/ 241 w 241"/>
                <a:gd name="T29" fmla="*/ 65 h 78"/>
                <a:gd name="T30" fmla="*/ 232 w 241"/>
                <a:gd name="T31" fmla="*/ 71 h 78"/>
                <a:gd name="T32" fmla="*/ 213 w 241"/>
                <a:gd name="T33" fmla="*/ 78 h 78"/>
                <a:gd name="T34" fmla="*/ 193 w 241"/>
                <a:gd name="T35" fmla="*/ 75 h 78"/>
                <a:gd name="T36" fmla="*/ 153 w 241"/>
                <a:gd name="T37" fmla="*/ 78 h 78"/>
                <a:gd name="T38" fmla="*/ 124 w 241"/>
                <a:gd name="T39" fmla="*/ 78 h 78"/>
                <a:gd name="T40" fmla="*/ 103 w 241"/>
                <a:gd name="T41" fmla="*/ 75 h 78"/>
                <a:gd name="T42" fmla="*/ 67 w 241"/>
                <a:gd name="T43" fmla="*/ 67 h 78"/>
                <a:gd name="T44" fmla="*/ 61 w 241"/>
                <a:gd name="T45" fmla="*/ 52 h 78"/>
                <a:gd name="T46" fmla="*/ 59 w 241"/>
                <a:gd name="T47" fmla="*/ 38 h 78"/>
                <a:gd name="T48" fmla="*/ 46 w 241"/>
                <a:gd name="T49" fmla="*/ 25 h 78"/>
                <a:gd name="T50" fmla="*/ 17 w 241"/>
                <a:gd name="T51" fmla="*/ 21 h 78"/>
                <a:gd name="T52" fmla="*/ 0 w 241"/>
                <a:gd name="T53" fmla="*/ 13 h 78"/>
                <a:gd name="T54" fmla="*/ 7 w 241"/>
                <a:gd name="T55" fmla="*/ 0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41" h="78">
                  <a:moveTo>
                    <a:pt x="7" y="0"/>
                  </a:moveTo>
                  <a:lnTo>
                    <a:pt x="36" y="2"/>
                  </a:lnTo>
                  <a:lnTo>
                    <a:pt x="50" y="11"/>
                  </a:lnTo>
                  <a:lnTo>
                    <a:pt x="76" y="11"/>
                  </a:lnTo>
                  <a:lnTo>
                    <a:pt x="90" y="21"/>
                  </a:lnTo>
                  <a:lnTo>
                    <a:pt x="86" y="30"/>
                  </a:lnTo>
                  <a:lnTo>
                    <a:pt x="101" y="38"/>
                  </a:lnTo>
                  <a:lnTo>
                    <a:pt x="111" y="44"/>
                  </a:lnTo>
                  <a:lnTo>
                    <a:pt x="130" y="46"/>
                  </a:lnTo>
                  <a:lnTo>
                    <a:pt x="149" y="48"/>
                  </a:lnTo>
                  <a:lnTo>
                    <a:pt x="172" y="42"/>
                  </a:lnTo>
                  <a:lnTo>
                    <a:pt x="201" y="38"/>
                  </a:lnTo>
                  <a:lnTo>
                    <a:pt x="224" y="40"/>
                  </a:lnTo>
                  <a:lnTo>
                    <a:pt x="238" y="54"/>
                  </a:lnTo>
                  <a:lnTo>
                    <a:pt x="241" y="65"/>
                  </a:lnTo>
                  <a:lnTo>
                    <a:pt x="232" y="71"/>
                  </a:lnTo>
                  <a:lnTo>
                    <a:pt x="213" y="78"/>
                  </a:lnTo>
                  <a:lnTo>
                    <a:pt x="193" y="75"/>
                  </a:lnTo>
                  <a:lnTo>
                    <a:pt x="153" y="78"/>
                  </a:lnTo>
                  <a:lnTo>
                    <a:pt x="124" y="78"/>
                  </a:lnTo>
                  <a:lnTo>
                    <a:pt x="103" y="75"/>
                  </a:lnTo>
                  <a:lnTo>
                    <a:pt x="67" y="67"/>
                  </a:lnTo>
                  <a:lnTo>
                    <a:pt x="61" y="52"/>
                  </a:lnTo>
                  <a:lnTo>
                    <a:pt x="59" y="38"/>
                  </a:lnTo>
                  <a:lnTo>
                    <a:pt x="46" y="25"/>
                  </a:lnTo>
                  <a:lnTo>
                    <a:pt x="17" y="21"/>
                  </a:lnTo>
                  <a:lnTo>
                    <a:pt x="0" y="13"/>
                  </a:lnTo>
                  <a:lnTo>
                    <a:pt x="7" y="0"/>
                  </a:lnTo>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54" name="Freeform 208">
              <a:extLst>
                <a:ext uri="{FF2B5EF4-FFF2-40B4-BE49-F238E27FC236}">
                  <a16:creationId xmlns:a16="http://schemas.microsoft.com/office/drawing/2014/main" id="{0117C917-FC30-5DAE-B438-361A26648C83}"/>
                </a:ext>
              </a:extLst>
            </p:cNvPr>
            <p:cNvSpPr>
              <a:spLocks/>
            </p:cNvSpPr>
            <p:nvPr/>
          </p:nvSpPr>
          <p:spPr bwMode="auto">
            <a:xfrm>
              <a:off x="1652589" y="2293991"/>
              <a:ext cx="146050" cy="82587"/>
            </a:xfrm>
            <a:custGeom>
              <a:avLst/>
              <a:gdLst>
                <a:gd name="T0" fmla="*/ 92 w 92"/>
                <a:gd name="T1" fmla="*/ 0 h 52"/>
                <a:gd name="T2" fmla="*/ 90 w 92"/>
                <a:gd name="T3" fmla="*/ 23 h 52"/>
                <a:gd name="T4" fmla="*/ 80 w 92"/>
                <a:gd name="T5" fmla="*/ 35 h 52"/>
                <a:gd name="T6" fmla="*/ 65 w 92"/>
                <a:gd name="T7" fmla="*/ 35 h 52"/>
                <a:gd name="T8" fmla="*/ 42 w 92"/>
                <a:gd name="T9" fmla="*/ 48 h 52"/>
                <a:gd name="T10" fmla="*/ 17 w 92"/>
                <a:gd name="T11" fmla="*/ 52 h 52"/>
                <a:gd name="T12" fmla="*/ 0 w 92"/>
                <a:gd name="T13" fmla="*/ 46 h 52"/>
                <a:gd name="T14" fmla="*/ 23 w 92"/>
                <a:gd name="T15" fmla="*/ 25 h 52"/>
                <a:gd name="T16" fmla="*/ 52 w 92"/>
                <a:gd name="T17" fmla="*/ 6 h 52"/>
                <a:gd name="T18" fmla="*/ 73 w 92"/>
                <a:gd name="T19" fmla="*/ 6 h 52"/>
                <a:gd name="T20" fmla="*/ 92 w 92"/>
                <a:gd name="T21"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2" h="52">
                  <a:moveTo>
                    <a:pt x="92" y="0"/>
                  </a:moveTo>
                  <a:lnTo>
                    <a:pt x="90" y="23"/>
                  </a:lnTo>
                  <a:lnTo>
                    <a:pt x="80" y="35"/>
                  </a:lnTo>
                  <a:lnTo>
                    <a:pt x="65" y="35"/>
                  </a:lnTo>
                  <a:lnTo>
                    <a:pt x="42" y="48"/>
                  </a:lnTo>
                  <a:lnTo>
                    <a:pt x="17" y="52"/>
                  </a:lnTo>
                  <a:lnTo>
                    <a:pt x="0" y="46"/>
                  </a:lnTo>
                  <a:lnTo>
                    <a:pt x="23" y="25"/>
                  </a:lnTo>
                  <a:lnTo>
                    <a:pt x="52" y="6"/>
                  </a:lnTo>
                  <a:lnTo>
                    <a:pt x="73" y="6"/>
                  </a:lnTo>
                  <a:lnTo>
                    <a:pt x="92" y="0"/>
                  </a:lnTo>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55" name="Freeform 210">
              <a:extLst>
                <a:ext uri="{FF2B5EF4-FFF2-40B4-BE49-F238E27FC236}">
                  <a16:creationId xmlns:a16="http://schemas.microsoft.com/office/drawing/2014/main" id="{B7C8A7AC-DCC7-E28B-A33D-BF7BE768C5B3}"/>
                </a:ext>
              </a:extLst>
            </p:cNvPr>
            <p:cNvSpPr>
              <a:spLocks/>
            </p:cNvSpPr>
            <p:nvPr/>
          </p:nvSpPr>
          <p:spPr bwMode="auto">
            <a:xfrm>
              <a:off x="3979863" y="2292403"/>
              <a:ext cx="4592637" cy="3014437"/>
            </a:xfrm>
            <a:custGeom>
              <a:avLst/>
              <a:gdLst/>
              <a:ahLst/>
              <a:cxnLst/>
              <a:rect l="l" t="t" r="r" b="b"/>
              <a:pathLst>
                <a:path w="4592637" h="3014437">
                  <a:moveTo>
                    <a:pt x="1519229" y="1084753"/>
                  </a:moveTo>
                  <a:lnTo>
                    <a:pt x="1492251" y="1099040"/>
                  </a:lnTo>
                  <a:lnTo>
                    <a:pt x="1476374" y="1102218"/>
                  </a:lnTo>
                  <a:lnTo>
                    <a:pt x="1465255" y="1121287"/>
                  </a:lnTo>
                  <a:lnTo>
                    <a:pt x="1443035" y="1127643"/>
                  </a:lnTo>
                  <a:lnTo>
                    <a:pt x="1422400" y="1154642"/>
                  </a:lnTo>
                  <a:lnTo>
                    <a:pt x="1439863" y="1178463"/>
                  </a:lnTo>
                  <a:lnTo>
                    <a:pt x="1436691" y="1197504"/>
                  </a:lnTo>
                  <a:lnTo>
                    <a:pt x="1462083" y="1230859"/>
                  </a:lnTo>
                  <a:lnTo>
                    <a:pt x="1476374" y="1243571"/>
                  </a:lnTo>
                  <a:lnTo>
                    <a:pt x="1485907" y="1261037"/>
                  </a:lnTo>
                  <a:lnTo>
                    <a:pt x="1495423" y="1264215"/>
                  </a:lnTo>
                  <a:lnTo>
                    <a:pt x="1501784" y="1267393"/>
                  </a:lnTo>
                  <a:lnTo>
                    <a:pt x="1485907" y="1270571"/>
                  </a:lnTo>
                  <a:lnTo>
                    <a:pt x="1479546" y="1291214"/>
                  </a:lnTo>
                  <a:lnTo>
                    <a:pt x="1476374" y="1300748"/>
                  </a:lnTo>
                  <a:lnTo>
                    <a:pt x="1471617" y="1307104"/>
                  </a:lnTo>
                  <a:lnTo>
                    <a:pt x="1471617" y="1319816"/>
                  </a:lnTo>
                  <a:lnTo>
                    <a:pt x="1476374" y="1337282"/>
                  </a:lnTo>
                  <a:lnTo>
                    <a:pt x="1495423" y="1343638"/>
                  </a:lnTo>
                  <a:lnTo>
                    <a:pt x="1511300" y="1356350"/>
                  </a:lnTo>
                  <a:lnTo>
                    <a:pt x="1544639" y="1361103"/>
                  </a:lnTo>
                  <a:lnTo>
                    <a:pt x="1577979" y="1353172"/>
                  </a:lnTo>
                  <a:lnTo>
                    <a:pt x="1581151" y="1349994"/>
                  </a:lnTo>
                  <a:lnTo>
                    <a:pt x="1574807" y="1330926"/>
                  </a:lnTo>
                  <a:lnTo>
                    <a:pt x="1577979" y="1303926"/>
                  </a:lnTo>
                  <a:lnTo>
                    <a:pt x="1562102" y="1294392"/>
                  </a:lnTo>
                  <a:lnTo>
                    <a:pt x="1568446" y="1276927"/>
                  </a:lnTo>
                  <a:lnTo>
                    <a:pt x="1552569" y="1273749"/>
                  </a:lnTo>
                  <a:cubicBezTo>
                    <a:pt x="1553626" y="1266343"/>
                    <a:pt x="1554701" y="1258909"/>
                    <a:pt x="1555758" y="1251503"/>
                  </a:cubicBezTo>
                  <a:lnTo>
                    <a:pt x="1577979" y="1261037"/>
                  </a:lnTo>
                  <a:lnTo>
                    <a:pt x="1598613" y="1248352"/>
                  </a:lnTo>
                  <a:lnTo>
                    <a:pt x="1584322" y="1234037"/>
                  </a:lnTo>
                  <a:lnTo>
                    <a:pt x="1574807" y="1221353"/>
                  </a:lnTo>
                  <a:lnTo>
                    <a:pt x="1555758" y="1227681"/>
                  </a:lnTo>
                  <a:lnTo>
                    <a:pt x="1555758" y="1245174"/>
                  </a:lnTo>
                  <a:lnTo>
                    <a:pt x="1549397" y="1230859"/>
                  </a:lnTo>
                  <a:lnTo>
                    <a:pt x="1549397" y="1224503"/>
                  </a:lnTo>
                  <a:lnTo>
                    <a:pt x="1552569" y="1211819"/>
                  </a:lnTo>
                  <a:lnTo>
                    <a:pt x="1549397" y="1200682"/>
                  </a:lnTo>
                  <a:lnTo>
                    <a:pt x="1522419" y="1194354"/>
                  </a:lnTo>
                  <a:lnTo>
                    <a:pt x="1512886" y="1167354"/>
                  </a:lnTo>
                  <a:lnTo>
                    <a:pt x="1501784" y="1164176"/>
                  </a:lnTo>
                  <a:lnTo>
                    <a:pt x="1501784" y="1154642"/>
                  </a:lnTo>
                  <a:lnTo>
                    <a:pt x="1522419" y="1157820"/>
                  </a:lnTo>
                  <a:lnTo>
                    <a:pt x="1522419" y="1135574"/>
                  </a:lnTo>
                  <a:lnTo>
                    <a:pt x="1541467" y="1130821"/>
                  </a:lnTo>
                  <a:lnTo>
                    <a:pt x="1558930" y="1135574"/>
                  </a:lnTo>
                  <a:lnTo>
                    <a:pt x="1565274" y="1108574"/>
                  </a:lnTo>
                  <a:lnTo>
                    <a:pt x="1558930" y="1091109"/>
                  </a:lnTo>
                  <a:lnTo>
                    <a:pt x="1538296" y="1094287"/>
                  </a:lnTo>
                  <a:close/>
                  <a:moveTo>
                    <a:pt x="2695419" y="0"/>
                  </a:moveTo>
                  <a:cubicBezTo>
                    <a:pt x="2707819" y="5728"/>
                    <a:pt x="2719760" y="11756"/>
                    <a:pt x="2732160" y="17484"/>
                  </a:cubicBezTo>
                  <a:cubicBezTo>
                    <a:pt x="2722975" y="21704"/>
                    <a:pt x="2714249" y="25924"/>
                    <a:pt x="2705063" y="30144"/>
                  </a:cubicBezTo>
                  <a:lnTo>
                    <a:pt x="2752827" y="36475"/>
                  </a:lnTo>
                  <a:cubicBezTo>
                    <a:pt x="2755123" y="43408"/>
                    <a:pt x="2756960" y="50341"/>
                    <a:pt x="2759256" y="57274"/>
                  </a:cubicBezTo>
                  <a:cubicBezTo>
                    <a:pt x="2766605" y="53959"/>
                    <a:pt x="2773953" y="50944"/>
                    <a:pt x="2781301" y="47628"/>
                  </a:cubicBezTo>
                  <a:lnTo>
                    <a:pt x="2844679" y="47628"/>
                  </a:lnTo>
                  <a:lnTo>
                    <a:pt x="2893821" y="72950"/>
                  </a:lnTo>
                  <a:lnTo>
                    <a:pt x="2914488" y="87419"/>
                  </a:lnTo>
                  <a:cubicBezTo>
                    <a:pt x="2911273" y="95859"/>
                    <a:pt x="2908517" y="104300"/>
                    <a:pt x="2905302" y="112740"/>
                  </a:cubicBezTo>
                  <a:lnTo>
                    <a:pt x="2881421" y="123893"/>
                  </a:lnTo>
                  <a:lnTo>
                    <a:pt x="2824013" y="149215"/>
                  </a:lnTo>
                  <a:lnTo>
                    <a:pt x="2808398" y="160368"/>
                  </a:lnTo>
                  <a:lnTo>
                    <a:pt x="2832279" y="166698"/>
                  </a:lnTo>
                  <a:lnTo>
                    <a:pt x="2868561" y="179359"/>
                  </a:lnTo>
                  <a:cubicBezTo>
                    <a:pt x="2874991" y="176345"/>
                    <a:pt x="2881421" y="173029"/>
                    <a:pt x="2887850" y="170014"/>
                  </a:cubicBezTo>
                  <a:cubicBezTo>
                    <a:pt x="2891065" y="179058"/>
                    <a:pt x="2893821" y="187800"/>
                    <a:pt x="2897036" y="196843"/>
                  </a:cubicBezTo>
                  <a:cubicBezTo>
                    <a:pt x="2900710" y="193226"/>
                    <a:pt x="2904843" y="189307"/>
                    <a:pt x="2908517" y="185689"/>
                  </a:cubicBezTo>
                  <a:lnTo>
                    <a:pt x="2941584" y="179359"/>
                  </a:lnTo>
                  <a:lnTo>
                    <a:pt x="3014607" y="185689"/>
                  </a:lnTo>
                  <a:cubicBezTo>
                    <a:pt x="3015526" y="192623"/>
                    <a:pt x="3016903" y="199556"/>
                    <a:pt x="3017822" y="206489"/>
                  </a:cubicBezTo>
                  <a:lnTo>
                    <a:pt x="3112889" y="212819"/>
                  </a:lnTo>
                  <a:lnTo>
                    <a:pt x="3112889" y="179359"/>
                  </a:lnTo>
                  <a:lnTo>
                    <a:pt x="3162490" y="189005"/>
                  </a:lnTo>
                  <a:lnTo>
                    <a:pt x="3195557" y="189005"/>
                  </a:lnTo>
                  <a:lnTo>
                    <a:pt x="3232298" y="209504"/>
                  </a:lnTo>
                  <a:lnTo>
                    <a:pt x="3243320" y="236633"/>
                  </a:lnTo>
                  <a:cubicBezTo>
                    <a:pt x="3238728" y="242964"/>
                    <a:pt x="3233676" y="249294"/>
                    <a:pt x="3229083" y="255624"/>
                  </a:cubicBezTo>
                  <a:cubicBezTo>
                    <a:pt x="3238268" y="265572"/>
                    <a:pt x="3246995" y="275821"/>
                    <a:pt x="3256180" y="285769"/>
                  </a:cubicBezTo>
                  <a:cubicBezTo>
                    <a:pt x="3267202" y="291195"/>
                    <a:pt x="3278224" y="296319"/>
                    <a:pt x="3289247" y="301745"/>
                  </a:cubicBezTo>
                  <a:cubicBezTo>
                    <a:pt x="3296595" y="287577"/>
                    <a:pt x="3304402" y="273108"/>
                    <a:pt x="3311751" y="258940"/>
                  </a:cubicBezTo>
                  <a:cubicBezTo>
                    <a:pt x="3323692" y="265873"/>
                    <a:pt x="3336092" y="272505"/>
                    <a:pt x="3348033" y="279438"/>
                  </a:cubicBezTo>
                  <a:lnTo>
                    <a:pt x="3387529" y="266778"/>
                  </a:lnTo>
                  <a:cubicBezTo>
                    <a:pt x="3401307" y="272204"/>
                    <a:pt x="3415085" y="277328"/>
                    <a:pt x="3428863" y="282754"/>
                  </a:cubicBezTo>
                  <a:cubicBezTo>
                    <a:pt x="3434374" y="277328"/>
                    <a:pt x="3439426" y="272204"/>
                    <a:pt x="3444937" y="266778"/>
                  </a:cubicBezTo>
                  <a:cubicBezTo>
                    <a:pt x="3456878" y="270094"/>
                    <a:pt x="3469278" y="273108"/>
                    <a:pt x="3481219" y="276424"/>
                  </a:cubicBezTo>
                  <a:cubicBezTo>
                    <a:pt x="3476167" y="263160"/>
                    <a:pt x="3470656" y="249897"/>
                    <a:pt x="3465604" y="236633"/>
                  </a:cubicBezTo>
                  <a:cubicBezTo>
                    <a:pt x="3475249" y="230906"/>
                    <a:pt x="3484434" y="224877"/>
                    <a:pt x="3494078" y="219150"/>
                  </a:cubicBezTo>
                  <a:lnTo>
                    <a:pt x="3694317" y="242964"/>
                  </a:lnTo>
                  <a:cubicBezTo>
                    <a:pt x="3700747" y="252007"/>
                    <a:pt x="3706717" y="261050"/>
                    <a:pt x="3713147" y="270094"/>
                  </a:cubicBezTo>
                  <a:cubicBezTo>
                    <a:pt x="3731977" y="279740"/>
                    <a:pt x="3751266" y="289085"/>
                    <a:pt x="3770096" y="298731"/>
                  </a:cubicBezTo>
                  <a:lnTo>
                    <a:pt x="3859193" y="292099"/>
                  </a:lnTo>
                  <a:lnTo>
                    <a:pt x="3905119" y="298731"/>
                  </a:lnTo>
                  <a:cubicBezTo>
                    <a:pt x="3911090" y="304458"/>
                    <a:pt x="3916601" y="310186"/>
                    <a:pt x="3922571" y="315913"/>
                  </a:cubicBezTo>
                  <a:cubicBezTo>
                    <a:pt x="3921653" y="324956"/>
                    <a:pt x="3920275" y="334000"/>
                    <a:pt x="3919357" y="343043"/>
                  </a:cubicBezTo>
                  <a:lnTo>
                    <a:pt x="3948290" y="355704"/>
                  </a:lnTo>
                  <a:cubicBezTo>
                    <a:pt x="3958394" y="352689"/>
                    <a:pt x="3968039" y="349373"/>
                    <a:pt x="3978142" y="346359"/>
                  </a:cubicBezTo>
                  <a:lnTo>
                    <a:pt x="4018098" y="346359"/>
                  </a:lnTo>
                  <a:cubicBezTo>
                    <a:pt x="4032335" y="349373"/>
                    <a:pt x="4046573" y="352689"/>
                    <a:pt x="4060810" y="355704"/>
                  </a:cubicBezTo>
                  <a:lnTo>
                    <a:pt x="4100306" y="349373"/>
                  </a:lnTo>
                  <a:cubicBezTo>
                    <a:pt x="4113166" y="360527"/>
                    <a:pt x="4125566" y="371680"/>
                    <a:pt x="4138425" y="382834"/>
                  </a:cubicBezTo>
                  <a:lnTo>
                    <a:pt x="4164144" y="374695"/>
                  </a:lnTo>
                  <a:cubicBezTo>
                    <a:pt x="4158633" y="365350"/>
                    <a:pt x="4153581" y="355704"/>
                    <a:pt x="4148070" y="346359"/>
                  </a:cubicBezTo>
                  <a:lnTo>
                    <a:pt x="4157714" y="331890"/>
                  </a:lnTo>
                  <a:lnTo>
                    <a:pt x="4230737" y="343043"/>
                  </a:lnTo>
                  <a:cubicBezTo>
                    <a:pt x="4244975" y="342139"/>
                    <a:pt x="4259212" y="340933"/>
                    <a:pt x="4273449" y="340029"/>
                  </a:cubicBezTo>
                  <a:lnTo>
                    <a:pt x="4336827" y="359020"/>
                  </a:lnTo>
                  <a:lnTo>
                    <a:pt x="4370354" y="374695"/>
                  </a:lnTo>
                  <a:lnTo>
                    <a:pt x="4422709" y="405140"/>
                  </a:lnTo>
                  <a:cubicBezTo>
                    <a:pt x="4441999" y="417198"/>
                    <a:pt x="4460829" y="429557"/>
                    <a:pt x="4480117" y="441615"/>
                  </a:cubicBezTo>
                  <a:cubicBezTo>
                    <a:pt x="4479199" y="449453"/>
                    <a:pt x="4477821" y="457592"/>
                    <a:pt x="4476903" y="465429"/>
                  </a:cubicBezTo>
                  <a:lnTo>
                    <a:pt x="4492517" y="474774"/>
                  </a:lnTo>
                  <a:cubicBezTo>
                    <a:pt x="4491599" y="465731"/>
                    <a:pt x="4490221" y="456989"/>
                    <a:pt x="4489303" y="447945"/>
                  </a:cubicBezTo>
                  <a:lnTo>
                    <a:pt x="4551303" y="452769"/>
                  </a:lnTo>
                  <a:cubicBezTo>
                    <a:pt x="4565081" y="464223"/>
                    <a:pt x="4578859" y="475980"/>
                    <a:pt x="4592637" y="487435"/>
                  </a:cubicBezTo>
                  <a:cubicBezTo>
                    <a:pt x="4585748" y="493162"/>
                    <a:pt x="4578859" y="499191"/>
                    <a:pt x="4571970" y="504918"/>
                  </a:cubicBezTo>
                  <a:cubicBezTo>
                    <a:pt x="4560029" y="506124"/>
                    <a:pt x="4547629" y="507028"/>
                    <a:pt x="4535689" y="508234"/>
                  </a:cubicBezTo>
                  <a:lnTo>
                    <a:pt x="4535689" y="541694"/>
                  </a:lnTo>
                  <a:cubicBezTo>
                    <a:pt x="4531555" y="543805"/>
                    <a:pt x="4526963" y="545915"/>
                    <a:pt x="4522829" y="548025"/>
                  </a:cubicBezTo>
                  <a:lnTo>
                    <a:pt x="4505377" y="548025"/>
                  </a:lnTo>
                  <a:lnTo>
                    <a:pt x="4486088" y="535364"/>
                  </a:lnTo>
                  <a:lnTo>
                    <a:pt x="4459451" y="524211"/>
                  </a:lnTo>
                  <a:cubicBezTo>
                    <a:pt x="4457154" y="518785"/>
                    <a:pt x="4455317" y="513660"/>
                    <a:pt x="4453021" y="508234"/>
                  </a:cubicBezTo>
                  <a:cubicBezTo>
                    <a:pt x="4445213" y="507028"/>
                    <a:pt x="4436947" y="506124"/>
                    <a:pt x="4429139" y="504918"/>
                  </a:cubicBezTo>
                  <a:cubicBezTo>
                    <a:pt x="4420873" y="506124"/>
                    <a:pt x="4412147" y="507028"/>
                    <a:pt x="4403880" y="508234"/>
                  </a:cubicBezTo>
                  <a:cubicBezTo>
                    <a:pt x="4400206" y="504014"/>
                    <a:pt x="4396072" y="499794"/>
                    <a:pt x="4392398" y="495574"/>
                  </a:cubicBezTo>
                  <a:cubicBezTo>
                    <a:pt x="4394695" y="490750"/>
                    <a:pt x="4396532" y="485927"/>
                    <a:pt x="4398828" y="481104"/>
                  </a:cubicBezTo>
                  <a:lnTo>
                    <a:pt x="4370354" y="490750"/>
                  </a:lnTo>
                  <a:cubicBezTo>
                    <a:pt x="4374487" y="496478"/>
                    <a:pt x="4379080" y="502507"/>
                    <a:pt x="4383213" y="508234"/>
                  </a:cubicBezTo>
                  <a:cubicBezTo>
                    <a:pt x="4379080" y="513660"/>
                    <a:pt x="4374487" y="518785"/>
                    <a:pt x="4370354" y="524211"/>
                  </a:cubicBezTo>
                  <a:cubicBezTo>
                    <a:pt x="4360250" y="529034"/>
                    <a:pt x="4350146" y="533555"/>
                    <a:pt x="4340042" y="538379"/>
                  </a:cubicBezTo>
                  <a:cubicBezTo>
                    <a:pt x="4329938" y="537474"/>
                    <a:pt x="4320294" y="536268"/>
                    <a:pt x="4310190" y="535364"/>
                  </a:cubicBezTo>
                  <a:lnTo>
                    <a:pt x="4330857" y="554355"/>
                  </a:lnTo>
                  <a:cubicBezTo>
                    <a:pt x="4335909" y="564303"/>
                    <a:pt x="4341420" y="574552"/>
                    <a:pt x="4346472" y="584499"/>
                  </a:cubicBezTo>
                  <a:cubicBezTo>
                    <a:pt x="4349687" y="587514"/>
                    <a:pt x="4352902" y="590830"/>
                    <a:pt x="4356116" y="593844"/>
                  </a:cubicBezTo>
                  <a:cubicBezTo>
                    <a:pt x="4357035" y="598667"/>
                    <a:pt x="4358413" y="603490"/>
                    <a:pt x="4359331" y="608314"/>
                  </a:cubicBezTo>
                  <a:cubicBezTo>
                    <a:pt x="4357035" y="611629"/>
                    <a:pt x="4355198" y="614644"/>
                    <a:pt x="4352902" y="617960"/>
                  </a:cubicBezTo>
                  <a:cubicBezTo>
                    <a:pt x="4338664" y="615850"/>
                    <a:pt x="4324427" y="613438"/>
                    <a:pt x="4310190" y="611328"/>
                  </a:cubicBezTo>
                  <a:lnTo>
                    <a:pt x="4249567" y="633635"/>
                  </a:lnTo>
                  <a:cubicBezTo>
                    <a:pt x="4243138" y="635745"/>
                    <a:pt x="4237167" y="637855"/>
                    <a:pt x="4230737" y="639965"/>
                  </a:cubicBezTo>
                  <a:cubicBezTo>
                    <a:pt x="4218337" y="647803"/>
                    <a:pt x="4206397" y="655942"/>
                    <a:pt x="4193996" y="663779"/>
                  </a:cubicBezTo>
                  <a:cubicBezTo>
                    <a:pt x="4183892" y="670712"/>
                    <a:pt x="4174248" y="677646"/>
                    <a:pt x="4164144" y="684579"/>
                  </a:cubicBezTo>
                  <a:lnTo>
                    <a:pt x="4154500" y="697239"/>
                  </a:lnTo>
                  <a:lnTo>
                    <a:pt x="4124188" y="676440"/>
                  </a:lnTo>
                  <a:cubicBezTo>
                    <a:pt x="4104440" y="684277"/>
                    <a:pt x="4085151" y="692416"/>
                    <a:pt x="4065402" y="700254"/>
                  </a:cubicBezTo>
                  <a:cubicBezTo>
                    <a:pt x="4062647" y="697239"/>
                    <a:pt x="4060351" y="693924"/>
                    <a:pt x="4057595" y="690909"/>
                  </a:cubicBezTo>
                  <a:lnTo>
                    <a:pt x="4035550" y="703570"/>
                  </a:lnTo>
                  <a:lnTo>
                    <a:pt x="4005239" y="697239"/>
                  </a:lnTo>
                  <a:cubicBezTo>
                    <a:pt x="4002943" y="704173"/>
                    <a:pt x="4001106" y="710804"/>
                    <a:pt x="3998809" y="717738"/>
                  </a:cubicBezTo>
                  <a:cubicBezTo>
                    <a:pt x="3989624" y="728288"/>
                    <a:pt x="3980898" y="739140"/>
                    <a:pt x="3971713" y="749691"/>
                  </a:cubicBezTo>
                  <a:lnTo>
                    <a:pt x="3971713" y="763858"/>
                  </a:lnTo>
                  <a:lnTo>
                    <a:pt x="3998809" y="773505"/>
                  </a:lnTo>
                  <a:cubicBezTo>
                    <a:pt x="3997891" y="787673"/>
                    <a:pt x="3996513" y="802142"/>
                    <a:pt x="3995594" y="816310"/>
                  </a:cubicBezTo>
                  <a:cubicBezTo>
                    <a:pt x="3988705" y="817515"/>
                    <a:pt x="3981816" y="818420"/>
                    <a:pt x="3974927" y="819626"/>
                  </a:cubicBezTo>
                  <a:cubicBezTo>
                    <a:pt x="3970794" y="827463"/>
                    <a:pt x="3966661" y="835602"/>
                    <a:pt x="3962527" y="843440"/>
                  </a:cubicBezTo>
                  <a:lnTo>
                    <a:pt x="3974927" y="856100"/>
                  </a:lnTo>
                  <a:lnTo>
                    <a:pt x="3935431" y="870268"/>
                  </a:lnTo>
                  <a:cubicBezTo>
                    <a:pt x="3933134" y="882326"/>
                    <a:pt x="3931297" y="894685"/>
                    <a:pt x="3929001" y="906743"/>
                  </a:cubicBezTo>
                  <a:cubicBezTo>
                    <a:pt x="3917979" y="910059"/>
                    <a:pt x="3906956" y="913073"/>
                    <a:pt x="3895934" y="916389"/>
                  </a:cubicBezTo>
                  <a:cubicBezTo>
                    <a:pt x="3893638" y="925432"/>
                    <a:pt x="3891801" y="934476"/>
                    <a:pt x="3889504" y="943519"/>
                  </a:cubicBezTo>
                  <a:lnTo>
                    <a:pt x="3859193" y="975171"/>
                  </a:lnTo>
                  <a:cubicBezTo>
                    <a:pt x="3855978" y="967634"/>
                    <a:pt x="3852763" y="960400"/>
                    <a:pt x="3849548" y="952864"/>
                  </a:cubicBezTo>
                  <a:cubicBezTo>
                    <a:pt x="3845874" y="938696"/>
                    <a:pt x="3842200" y="924227"/>
                    <a:pt x="3838526" y="910059"/>
                  </a:cubicBezTo>
                  <a:cubicBezTo>
                    <a:pt x="3834393" y="886848"/>
                    <a:pt x="3829800" y="863335"/>
                    <a:pt x="3825667" y="840124"/>
                  </a:cubicBezTo>
                  <a:cubicBezTo>
                    <a:pt x="3829800" y="825956"/>
                    <a:pt x="3834393" y="811487"/>
                    <a:pt x="3838526" y="797319"/>
                  </a:cubicBezTo>
                  <a:cubicBezTo>
                    <a:pt x="3844497" y="791591"/>
                    <a:pt x="3850008" y="785562"/>
                    <a:pt x="3855978" y="779835"/>
                  </a:cubicBezTo>
                  <a:cubicBezTo>
                    <a:pt x="3856897" y="774409"/>
                    <a:pt x="3858274" y="769284"/>
                    <a:pt x="3859193" y="763858"/>
                  </a:cubicBezTo>
                  <a:lnTo>
                    <a:pt x="3892719" y="757528"/>
                  </a:lnTo>
                  <a:lnTo>
                    <a:pt x="3932216" y="716230"/>
                  </a:lnTo>
                  <a:lnTo>
                    <a:pt x="3968957" y="681263"/>
                  </a:lnTo>
                  <a:lnTo>
                    <a:pt x="4008454" y="654434"/>
                  </a:lnTo>
                  <a:cubicBezTo>
                    <a:pt x="4014883" y="639061"/>
                    <a:pt x="4020854" y="623687"/>
                    <a:pt x="4027284" y="608314"/>
                  </a:cubicBezTo>
                  <a:cubicBezTo>
                    <a:pt x="4017639" y="609218"/>
                    <a:pt x="4008454" y="610424"/>
                    <a:pt x="3998809" y="611328"/>
                  </a:cubicBezTo>
                  <a:cubicBezTo>
                    <a:pt x="3994217" y="620974"/>
                    <a:pt x="3989165" y="630319"/>
                    <a:pt x="3984572" y="639965"/>
                  </a:cubicBezTo>
                  <a:lnTo>
                    <a:pt x="3929001" y="676440"/>
                  </a:lnTo>
                  <a:cubicBezTo>
                    <a:pt x="3924408" y="662272"/>
                    <a:pt x="3919357" y="647803"/>
                    <a:pt x="3914764" y="633635"/>
                  </a:cubicBezTo>
                  <a:lnTo>
                    <a:pt x="3855978" y="644788"/>
                  </a:lnTo>
                  <a:cubicBezTo>
                    <a:pt x="3837148" y="664382"/>
                    <a:pt x="3817859" y="683976"/>
                    <a:pt x="3799029" y="703570"/>
                  </a:cubicBezTo>
                  <a:cubicBezTo>
                    <a:pt x="3805000" y="709297"/>
                    <a:pt x="3810511" y="715326"/>
                    <a:pt x="3816481" y="721053"/>
                  </a:cubicBezTo>
                  <a:lnTo>
                    <a:pt x="3767340" y="730700"/>
                  </a:lnTo>
                  <a:cubicBezTo>
                    <a:pt x="3757236" y="731604"/>
                    <a:pt x="3747133" y="732810"/>
                    <a:pt x="3737029" y="733714"/>
                  </a:cubicBezTo>
                  <a:lnTo>
                    <a:pt x="3737029" y="709900"/>
                  </a:lnTo>
                  <a:cubicBezTo>
                    <a:pt x="3724629" y="708996"/>
                    <a:pt x="3712688" y="707790"/>
                    <a:pt x="3700288" y="706886"/>
                  </a:cubicBezTo>
                  <a:cubicBezTo>
                    <a:pt x="3691562" y="711709"/>
                    <a:pt x="3682376" y="716230"/>
                    <a:pt x="3673650" y="721053"/>
                  </a:cubicBezTo>
                  <a:lnTo>
                    <a:pt x="3606598" y="716230"/>
                  </a:lnTo>
                  <a:lnTo>
                    <a:pt x="3533575" y="727384"/>
                  </a:lnTo>
                  <a:lnTo>
                    <a:pt x="3460552" y="789481"/>
                  </a:lnTo>
                  <a:lnTo>
                    <a:pt x="3375129" y="862431"/>
                  </a:lnTo>
                  <a:cubicBezTo>
                    <a:pt x="3386151" y="863335"/>
                    <a:pt x="3397174" y="864541"/>
                    <a:pt x="3408196" y="865445"/>
                  </a:cubicBezTo>
                  <a:cubicBezTo>
                    <a:pt x="3412329" y="871172"/>
                    <a:pt x="3416922" y="877201"/>
                    <a:pt x="3421055" y="882929"/>
                  </a:cubicBezTo>
                  <a:cubicBezTo>
                    <a:pt x="3428863" y="886245"/>
                    <a:pt x="3437130" y="889259"/>
                    <a:pt x="3444937" y="892575"/>
                  </a:cubicBezTo>
                  <a:cubicBezTo>
                    <a:pt x="3449071" y="886245"/>
                    <a:pt x="3453663" y="879914"/>
                    <a:pt x="3457797" y="873584"/>
                  </a:cubicBezTo>
                  <a:cubicBezTo>
                    <a:pt x="3465604" y="874488"/>
                    <a:pt x="3473412" y="875694"/>
                    <a:pt x="3481219" y="876598"/>
                  </a:cubicBezTo>
                  <a:lnTo>
                    <a:pt x="3511530" y="910059"/>
                  </a:lnTo>
                  <a:lnTo>
                    <a:pt x="3511530" y="938696"/>
                  </a:lnTo>
                  <a:cubicBezTo>
                    <a:pt x="3506938" y="947739"/>
                    <a:pt x="3501886" y="956481"/>
                    <a:pt x="3497293" y="965524"/>
                  </a:cubicBezTo>
                  <a:cubicBezTo>
                    <a:pt x="3496375" y="977884"/>
                    <a:pt x="3494997" y="989941"/>
                    <a:pt x="3494078" y="1002300"/>
                  </a:cubicBezTo>
                  <a:cubicBezTo>
                    <a:pt x="3490864" y="1016468"/>
                    <a:pt x="3487649" y="1030938"/>
                    <a:pt x="3484434" y="1045105"/>
                  </a:cubicBezTo>
                  <a:cubicBezTo>
                    <a:pt x="3473412" y="1059273"/>
                    <a:pt x="3462389" y="1073743"/>
                    <a:pt x="3451367" y="1087910"/>
                  </a:cubicBezTo>
                  <a:cubicBezTo>
                    <a:pt x="3449071" y="1093638"/>
                    <a:pt x="3447233" y="1099667"/>
                    <a:pt x="3444937" y="1105394"/>
                  </a:cubicBezTo>
                  <a:lnTo>
                    <a:pt x="3414626" y="1138854"/>
                  </a:lnTo>
                  <a:cubicBezTo>
                    <a:pt x="3405440" y="1148802"/>
                    <a:pt x="3396714" y="1159051"/>
                    <a:pt x="3387529" y="1168999"/>
                  </a:cubicBezTo>
                  <a:cubicBezTo>
                    <a:pt x="3382477" y="1174123"/>
                    <a:pt x="3376966" y="1179549"/>
                    <a:pt x="3371914" y="1184674"/>
                  </a:cubicBezTo>
                  <a:cubicBezTo>
                    <a:pt x="3361810" y="1190100"/>
                    <a:pt x="3351707" y="1195224"/>
                    <a:pt x="3341603" y="1200650"/>
                  </a:cubicBezTo>
                  <a:lnTo>
                    <a:pt x="3329203" y="1200650"/>
                  </a:lnTo>
                  <a:cubicBezTo>
                    <a:pt x="3323692" y="1196430"/>
                    <a:pt x="3318640" y="1192210"/>
                    <a:pt x="3313128" y="1187990"/>
                  </a:cubicBezTo>
                  <a:lnTo>
                    <a:pt x="3282817" y="1206981"/>
                  </a:lnTo>
                  <a:cubicBezTo>
                    <a:pt x="3281899" y="1210598"/>
                    <a:pt x="3280521" y="1214517"/>
                    <a:pt x="3279602" y="1218134"/>
                  </a:cubicBezTo>
                  <a:cubicBezTo>
                    <a:pt x="3276847" y="1217230"/>
                    <a:pt x="3274550" y="1216024"/>
                    <a:pt x="3271795" y="1215120"/>
                  </a:cubicBezTo>
                  <a:lnTo>
                    <a:pt x="3262150" y="1227780"/>
                  </a:lnTo>
                  <a:cubicBezTo>
                    <a:pt x="3260313" y="1229890"/>
                    <a:pt x="3258017" y="1232001"/>
                    <a:pt x="3256180" y="1234111"/>
                  </a:cubicBezTo>
                  <a:lnTo>
                    <a:pt x="3256180" y="1251594"/>
                  </a:lnTo>
                  <a:cubicBezTo>
                    <a:pt x="3252046" y="1253705"/>
                    <a:pt x="3247454" y="1255815"/>
                    <a:pt x="3243320" y="1257925"/>
                  </a:cubicBezTo>
                  <a:cubicBezTo>
                    <a:pt x="3242402" y="1260035"/>
                    <a:pt x="3241024" y="1262145"/>
                    <a:pt x="3240106" y="1264255"/>
                  </a:cubicBezTo>
                  <a:cubicBezTo>
                    <a:pt x="3237350" y="1266365"/>
                    <a:pt x="3235054" y="1268475"/>
                    <a:pt x="3232298" y="1270585"/>
                  </a:cubicBezTo>
                  <a:cubicBezTo>
                    <a:pt x="3228165" y="1272695"/>
                    <a:pt x="3223572" y="1274806"/>
                    <a:pt x="3219439" y="1276916"/>
                  </a:cubicBezTo>
                  <a:cubicBezTo>
                    <a:pt x="3216224" y="1278423"/>
                    <a:pt x="3213009" y="1280232"/>
                    <a:pt x="3209794" y="1281739"/>
                  </a:cubicBezTo>
                  <a:lnTo>
                    <a:pt x="3209794" y="1291084"/>
                  </a:lnTo>
                  <a:cubicBezTo>
                    <a:pt x="3208876" y="1292289"/>
                    <a:pt x="3207498" y="1293194"/>
                    <a:pt x="3206579" y="1294399"/>
                  </a:cubicBezTo>
                  <a:cubicBezTo>
                    <a:pt x="3208876" y="1296510"/>
                    <a:pt x="3210713" y="1298620"/>
                    <a:pt x="3213009" y="1300730"/>
                  </a:cubicBezTo>
                  <a:cubicBezTo>
                    <a:pt x="3217142" y="1304046"/>
                    <a:pt x="3221735" y="1307060"/>
                    <a:pt x="3225868" y="1310376"/>
                  </a:cubicBezTo>
                  <a:cubicBezTo>
                    <a:pt x="3231839" y="1321529"/>
                    <a:pt x="3237350" y="1332381"/>
                    <a:pt x="3243320" y="1343535"/>
                  </a:cubicBezTo>
                  <a:cubicBezTo>
                    <a:pt x="3245617" y="1348358"/>
                    <a:pt x="3247454" y="1353181"/>
                    <a:pt x="3249750" y="1358004"/>
                  </a:cubicBezTo>
                  <a:lnTo>
                    <a:pt x="3249750" y="1370665"/>
                  </a:lnTo>
                  <a:lnTo>
                    <a:pt x="3249750" y="1389656"/>
                  </a:lnTo>
                  <a:cubicBezTo>
                    <a:pt x="3247454" y="1393273"/>
                    <a:pt x="3245617" y="1397192"/>
                    <a:pt x="3243320" y="1400809"/>
                  </a:cubicBezTo>
                  <a:lnTo>
                    <a:pt x="3222654" y="1407139"/>
                  </a:lnTo>
                  <a:lnTo>
                    <a:pt x="3206579" y="1416786"/>
                  </a:lnTo>
                  <a:cubicBezTo>
                    <a:pt x="3198772" y="1417690"/>
                    <a:pt x="3190964" y="1418896"/>
                    <a:pt x="3183157" y="1419800"/>
                  </a:cubicBezTo>
                  <a:cubicBezTo>
                    <a:pt x="3182238" y="1414675"/>
                    <a:pt x="3180861" y="1409249"/>
                    <a:pt x="3179942" y="1404125"/>
                  </a:cubicBezTo>
                  <a:cubicBezTo>
                    <a:pt x="3181779" y="1398397"/>
                    <a:pt x="3184075" y="1392369"/>
                    <a:pt x="3185912" y="1386641"/>
                  </a:cubicBezTo>
                  <a:cubicBezTo>
                    <a:pt x="3182698" y="1376995"/>
                    <a:pt x="3179942" y="1367650"/>
                    <a:pt x="3176727" y="1358004"/>
                  </a:cubicBezTo>
                  <a:lnTo>
                    <a:pt x="3192342" y="1356195"/>
                  </a:lnTo>
                  <a:cubicBezTo>
                    <a:pt x="3188209" y="1348961"/>
                    <a:pt x="3184075" y="1341425"/>
                    <a:pt x="3179942" y="1334190"/>
                  </a:cubicBezTo>
                  <a:cubicBezTo>
                    <a:pt x="3175809" y="1332984"/>
                    <a:pt x="3171216" y="1332080"/>
                    <a:pt x="3167083" y="1330874"/>
                  </a:cubicBezTo>
                  <a:cubicBezTo>
                    <a:pt x="3166164" y="1332080"/>
                    <a:pt x="3164786" y="1332984"/>
                    <a:pt x="3163868" y="1334190"/>
                  </a:cubicBezTo>
                  <a:lnTo>
                    <a:pt x="3159275" y="1334190"/>
                  </a:lnTo>
                  <a:lnTo>
                    <a:pt x="3159275" y="1330874"/>
                  </a:lnTo>
                  <a:lnTo>
                    <a:pt x="3152845" y="1330874"/>
                  </a:lnTo>
                  <a:cubicBezTo>
                    <a:pt x="3150549" y="1328764"/>
                    <a:pt x="3148712" y="1326654"/>
                    <a:pt x="3146416" y="1324544"/>
                  </a:cubicBezTo>
                  <a:cubicBezTo>
                    <a:pt x="3148712" y="1320926"/>
                    <a:pt x="3150549" y="1317008"/>
                    <a:pt x="3152845" y="1313390"/>
                  </a:cubicBezTo>
                  <a:cubicBezTo>
                    <a:pt x="3155142" y="1312486"/>
                    <a:pt x="3156979" y="1311280"/>
                    <a:pt x="3159275" y="1310376"/>
                  </a:cubicBezTo>
                  <a:cubicBezTo>
                    <a:pt x="3158357" y="1309170"/>
                    <a:pt x="3156979" y="1308266"/>
                    <a:pt x="3156060" y="1307060"/>
                  </a:cubicBezTo>
                  <a:cubicBezTo>
                    <a:pt x="3158357" y="1301634"/>
                    <a:pt x="3160194" y="1296510"/>
                    <a:pt x="3162490" y="1291084"/>
                  </a:cubicBezTo>
                  <a:lnTo>
                    <a:pt x="3162490" y="1288069"/>
                  </a:lnTo>
                  <a:cubicBezTo>
                    <a:pt x="3156979" y="1286863"/>
                    <a:pt x="3151927" y="1285959"/>
                    <a:pt x="3146416" y="1284753"/>
                  </a:cubicBezTo>
                  <a:cubicBezTo>
                    <a:pt x="3143201" y="1282040"/>
                    <a:pt x="3139986" y="1279629"/>
                    <a:pt x="3136771" y="1276916"/>
                  </a:cubicBezTo>
                  <a:cubicBezTo>
                    <a:pt x="3125749" y="1279629"/>
                    <a:pt x="3114727" y="1282040"/>
                    <a:pt x="3103704" y="1284753"/>
                  </a:cubicBezTo>
                  <a:cubicBezTo>
                    <a:pt x="3098193" y="1288973"/>
                    <a:pt x="3093141" y="1293495"/>
                    <a:pt x="3087630" y="1297715"/>
                  </a:cubicBezTo>
                  <a:lnTo>
                    <a:pt x="3063748" y="1307060"/>
                  </a:lnTo>
                  <a:cubicBezTo>
                    <a:pt x="3069259" y="1301634"/>
                    <a:pt x="3074311" y="1296510"/>
                    <a:pt x="3079823" y="1291084"/>
                  </a:cubicBezTo>
                  <a:cubicBezTo>
                    <a:pt x="3077526" y="1288069"/>
                    <a:pt x="3075689" y="1284753"/>
                    <a:pt x="3073393" y="1281739"/>
                  </a:cubicBezTo>
                  <a:cubicBezTo>
                    <a:pt x="3077985" y="1276011"/>
                    <a:pt x="3083037" y="1269982"/>
                    <a:pt x="3087630" y="1264255"/>
                  </a:cubicBezTo>
                  <a:cubicBezTo>
                    <a:pt x="3084874" y="1258829"/>
                    <a:pt x="3082578" y="1253705"/>
                    <a:pt x="3079823" y="1248279"/>
                  </a:cubicBezTo>
                  <a:cubicBezTo>
                    <a:pt x="3072474" y="1252499"/>
                    <a:pt x="3064667" y="1256719"/>
                    <a:pt x="3057319" y="1260939"/>
                  </a:cubicBezTo>
                  <a:cubicBezTo>
                    <a:pt x="3049511" y="1267269"/>
                    <a:pt x="3041704" y="1273901"/>
                    <a:pt x="3033896" y="1280232"/>
                  </a:cubicBezTo>
                  <a:lnTo>
                    <a:pt x="3017822" y="1294399"/>
                  </a:lnTo>
                  <a:cubicBezTo>
                    <a:pt x="3010933" y="1295605"/>
                    <a:pt x="3004044" y="1296510"/>
                    <a:pt x="2997155" y="1297715"/>
                  </a:cubicBezTo>
                  <a:cubicBezTo>
                    <a:pt x="2993940" y="1300730"/>
                    <a:pt x="2990725" y="1304046"/>
                    <a:pt x="2987511" y="1307060"/>
                  </a:cubicBezTo>
                  <a:lnTo>
                    <a:pt x="2997155" y="1327860"/>
                  </a:lnTo>
                  <a:cubicBezTo>
                    <a:pt x="3003125" y="1328764"/>
                    <a:pt x="3008637" y="1329970"/>
                    <a:pt x="3014607" y="1330874"/>
                  </a:cubicBezTo>
                  <a:lnTo>
                    <a:pt x="3014607" y="1343535"/>
                  </a:lnTo>
                  <a:lnTo>
                    <a:pt x="3037111" y="1349865"/>
                  </a:lnTo>
                  <a:cubicBezTo>
                    <a:pt x="3044000" y="1343535"/>
                    <a:pt x="3050430" y="1337204"/>
                    <a:pt x="3057319" y="1330874"/>
                  </a:cubicBezTo>
                  <a:lnTo>
                    <a:pt x="3083037" y="1340520"/>
                  </a:lnTo>
                  <a:lnTo>
                    <a:pt x="3094060" y="1340520"/>
                  </a:lnTo>
                  <a:cubicBezTo>
                    <a:pt x="3094978" y="1345645"/>
                    <a:pt x="3096356" y="1351071"/>
                    <a:pt x="3097275" y="1356195"/>
                  </a:cubicBezTo>
                  <a:cubicBezTo>
                    <a:pt x="3087171" y="1357703"/>
                    <a:pt x="3077067" y="1359511"/>
                    <a:pt x="3066963" y="1361018"/>
                  </a:cubicBezTo>
                  <a:lnTo>
                    <a:pt x="3057319" y="1373679"/>
                  </a:lnTo>
                  <a:lnTo>
                    <a:pt x="3037111" y="1389656"/>
                  </a:lnTo>
                  <a:cubicBezTo>
                    <a:pt x="3031600" y="1395383"/>
                    <a:pt x="3026548" y="1401412"/>
                    <a:pt x="3021037" y="1407139"/>
                  </a:cubicBezTo>
                  <a:cubicBezTo>
                    <a:pt x="3029304" y="1411360"/>
                    <a:pt x="3038030" y="1415580"/>
                    <a:pt x="3046296" y="1419800"/>
                  </a:cubicBezTo>
                  <a:cubicBezTo>
                    <a:pt x="3049970" y="1427638"/>
                    <a:pt x="3053644" y="1435777"/>
                    <a:pt x="3057319" y="1443614"/>
                  </a:cubicBezTo>
                  <a:cubicBezTo>
                    <a:pt x="3061452" y="1452054"/>
                    <a:pt x="3066045" y="1460796"/>
                    <a:pt x="3070178" y="1469237"/>
                  </a:cubicBezTo>
                  <a:cubicBezTo>
                    <a:pt x="3074311" y="1474964"/>
                    <a:pt x="3078904" y="1480993"/>
                    <a:pt x="3083037" y="1486720"/>
                  </a:cubicBezTo>
                  <a:lnTo>
                    <a:pt x="3083037" y="1502396"/>
                  </a:lnTo>
                  <a:cubicBezTo>
                    <a:pt x="3078904" y="1505109"/>
                    <a:pt x="3074311" y="1507822"/>
                    <a:pt x="3070178" y="1510535"/>
                  </a:cubicBezTo>
                  <a:cubicBezTo>
                    <a:pt x="3072474" y="1514755"/>
                    <a:pt x="3074311" y="1518975"/>
                    <a:pt x="3076608" y="1523195"/>
                  </a:cubicBezTo>
                  <a:cubicBezTo>
                    <a:pt x="3080282" y="1526210"/>
                    <a:pt x="3083956" y="1529525"/>
                    <a:pt x="3087630" y="1532540"/>
                  </a:cubicBezTo>
                  <a:cubicBezTo>
                    <a:pt x="3086252" y="1538267"/>
                    <a:pt x="3084415" y="1544296"/>
                    <a:pt x="3083037" y="1550024"/>
                  </a:cubicBezTo>
                  <a:cubicBezTo>
                    <a:pt x="3082119" y="1556354"/>
                    <a:pt x="3080741" y="1562684"/>
                    <a:pt x="3079823" y="1569015"/>
                  </a:cubicBezTo>
                  <a:cubicBezTo>
                    <a:pt x="3075689" y="1570220"/>
                    <a:pt x="3071097" y="1571125"/>
                    <a:pt x="3066963" y="1572331"/>
                  </a:cubicBezTo>
                  <a:cubicBezTo>
                    <a:pt x="3061911" y="1580168"/>
                    <a:pt x="3056400" y="1588307"/>
                    <a:pt x="3051348" y="1596145"/>
                  </a:cubicBezTo>
                  <a:cubicBezTo>
                    <a:pt x="3045378" y="1606092"/>
                    <a:pt x="3039867" y="1616341"/>
                    <a:pt x="3033896" y="1626289"/>
                  </a:cubicBezTo>
                  <a:cubicBezTo>
                    <a:pt x="3027007" y="1636839"/>
                    <a:pt x="3020118" y="1647691"/>
                    <a:pt x="3013229" y="1658242"/>
                  </a:cubicBezTo>
                  <a:cubicBezTo>
                    <a:pt x="3002666" y="1665175"/>
                    <a:pt x="2992103" y="1671807"/>
                    <a:pt x="2981540" y="1678740"/>
                  </a:cubicBezTo>
                  <a:lnTo>
                    <a:pt x="2951229" y="1697731"/>
                  </a:lnTo>
                  <a:lnTo>
                    <a:pt x="2927347" y="1699540"/>
                  </a:lnTo>
                  <a:lnTo>
                    <a:pt x="2914488" y="1708884"/>
                  </a:lnTo>
                  <a:cubicBezTo>
                    <a:pt x="2911273" y="1706774"/>
                    <a:pt x="2908517" y="1704664"/>
                    <a:pt x="2905302" y="1702554"/>
                  </a:cubicBezTo>
                  <a:cubicBezTo>
                    <a:pt x="2901628" y="1706774"/>
                    <a:pt x="2897495" y="1710995"/>
                    <a:pt x="2893821" y="1715215"/>
                  </a:cubicBezTo>
                  <a:cubicBezTo>
                    <a:pt x="2882798" y="1718531"/>
                    <a:pt x="2871776" y="1721545"/>
                    <a:pt x="2860754" y="1724861"/>
                  </a:cubicBezTo>
                  <a:lnTo>
                    <a:pt x="2838250" y="1731191"/>
                  </a:lnTo>
                  <a:cubicBezTo>
                    <a:pt x="2836413" y="1739029"/>
                    <a:pt x="2834116" y="1747168"/>
                    <a:pt x="2832279" y="1755005"/>
                  </a:cubicBezTo>
                  <a:lnTo>
                    <a:pt x="2817583" y="1755005"/>
                  </a:lnTo>
                  <a:cubicBezTo>
                    <a:pt x="2816664" y="1749579"/>
                    <a:pt x="2815746" y="1744455"/>
                    <a:pt x="2814827" y="1739029"/>
                  </a:cubicBezTo>
                  <a:cubicBezTo>
                    <a:pt x="2815746" y="1736316"/>
                    <a:pt x="2816664" y="1733904"/>
                    <a:pt x="2817583" y="1731191"/>
                  </a:cubicBezTo>
                  <a:lnTo>
                    <a:pt x="2787731" y="1721545"/>
                  </a:lnTo>
                  <a:cubicBezTo>
                    <a:pt x="2784516" y="1722751"/>
                    <a:pt x="2781301" y="1723655"/>
                    <a:pt x="2778086" y="1724861"/>
                  </a:cubicBezTo>
                  <a:lnTo>
                    <a:pt x="2750990" y="1745359"/>
                  </a:lnTo>
                  <a:cubicBezTo>
                    <a:pt x="2743641" y="1752895"/>
                    <a:pt x="2736293" y="1760130"/>
                    <a:pt x="2728945" y="1767666"/>
                  </a:cubicBezTo>
                  <a:cubicBezTo>
                    <a:pt x="2728027" y="1773393"/>
                    <a:pt x="2726649" y="1779422"/>
                    <a:pt x="2725730" y="1785150"/>
                  </a:cubicBezTo>
                  <a:cubicBezTo>
                    <a:pt x="2731241" y="1792686"/>
                    <a:pt x="2736293" y="1799920"/>
                    <a:pt x="2741804" y="1807457"/>
                  </a:cubicBezTo>
                  <a:cubicBezTo>
                    <a:pt x="2748693" y="1817404"/>
                    <a:pt x="2755582" y="1827653"/>
                    <a:pt x="2762471" y="1837601"/>
                  </a:cubicBezTo>
                  <a:cubicBezTo>
                    <a:pt x="2769820" y="1842424"/>
                    <a:pt x="2777168" y="1846946"/>
                    <a:pt x="2784516" y="1851769"/>
                  </a:cubicBezTo>
                  <a:cubicBezTo>
                    <a:pt x="2788190" y="1857195"/>
                    <a:pt x="2791864" y="1862319"/>
                    <a:pt x="2795538" y="1867745"/>
                  </a:cubicBezTo>
                  <a:cubicBezTo>
                    <a:pt x="2799672" y="1881913"/>
                    <a:pt x="2804264" y="1896382"/>
                    <a:pt x="2808398" y="1910550"/>
                  </a:cubicBezTo>
                  <a:cubicBezTo>
                    <a:pt x="2806101" y="1923814"/>
                    <a:pt x="2804264" y="1937077"/>
                    <a:pt x="2801968" y="1950341"/>
                  </a:cubicBezTo>
                  <a:cubicBezTo>
                    <a:pt x="2797375" y="1956068"/>
                    <a:pt x="2792323" y="1962097"/>
                    <a:pt x="2787731" y="1967825"/>
                  </a:cubicBezTo>
                  <a:cubicBezTo>
                    <a:pt x="2778086" y="1972045"/>
                    <a:pt x="2768901" y="1976265"/>
                    <a:pt x="2759256" y="1980485"/>
                  </a:cubicBezTo>
                  <a:cubicBezTo>
                    <a:pt x="2753286" y="1986816"/>
                    <a:pt x="2747775" y="1993146"/>
                    <a:pt x="2741804" y="1999476"/>
                  </a:cubicBezTo>
                  <a:lnTo>
                    <a:pt x="2712871" y="2020276"/>
                  </a:lnTo>
                  <a:cubicBezTo>
                    <a:pt x="2711493" y="2014850"/>
                    <a:pt x="2709656" y="2009725"/>
                    <a:pt x="2708278" y="2004299"/>
                  </a:cubicBezTo>
                  <a:cubicBezTo>
                    <a:pt x="2709197" y="1999476"/>
                    <a:pt x="2710574" y="1994955"/>
                    <a:pt x="2711493" y="1990131"/>
                  </a:cubicBezTo>
                  <a:cubicBezTo>
                    <a:pt x="2705982" y="1985911"/>
                    <a:pt x="2700930" y="1981691"/>
                    <a:pt x="2695419" y="1977471"/>
                  </a:cubicBezTo>
                  <a:cubicBezTo>
                    <a:pt x="2688989" y="1976265"/>
                    <a:pt x="2683019" y="1975361"/>
                    <a:pt x="2676589" y="1974155"/>
                  </a:cubicBezTo>
                  <a:cubicBezTo>
                    <a:pt x="2673833" y="1969935"/>
                    <a:pt x="2671537" y="1965715"/>
                    <a:pt x="2668781" y="1961494"/>
                  </a:cubicBezTo>
                  <a:cubicBezTo>
                    <a:pt x="2664648" y="1954561"/>
                    <a:pt x="2660055" y="1947628"/>
                    <a:pt x="2655922" y="1940695"/>
                  </a:cubicBezTo>
                  <a:cubicBezTo>
                    <a:pt x="2649952" y="1936474"/>
                    <a:pt x="2644441" y="1932254"/>
                    <a:pt x="2638470" y="1928034"/>
                  </a:cubicBezTo>
                  <a:lnTo>
                    <a:pt x="2619181" y="1928034"/>
                  </a:lnTo>
                  <a:cubicBezTo>
                    <a:pt x="2620100" y="1922307"/>
                    <a:pt x="2621477" y="1916278"/>
                    <a:pt x="2622396" y="1910550"/>
                  </a:cubicBezTo>
                  <a:lnTo>
                    <a:pt x="2603566" y="1910550"/>
                  </a:lnTo>
                  <a:cubicBezTo>
                    <a:pt x="2602648" y="1919594"/>
                    <a:pt x="2601270" y="1928637"/>
                    <a:pt x="2600351" y="1937680"/>
                  </a:cubicBezTo>
                  <a:cubicBezTo>
                    <a:pt x="2597596" y="1947628"/>
                    <a:pt x="2595299" y="1957877"/>
                    <a:pt x="2592544" y="1967825"/>
                  </a:cubicBezTo>
                  <a:lnTo>
                    <a:pt x="2582899" y="1986816"/>
                  </a:lnTo>
                  <a:lnTo>
                    <a:pt x="2582899" y="2004299"/>
                  </a:lnTo>
                  <a:cubicBezTo>
                    <a:pt x="2587951" y="2005505"/>
                    <a:pt x="2593462" y="2006409"/>
                    <a:pt x="2598514" y="2007615"/>
                  </a:cubicBezTo>
                  <a:lnTo>
                    <a:pt x="2606781" y="2026606"/>
                  </a:lnTo>
                  <a:cubicBezTo>
                    <a:pt x="2607699" y="2033539"/>
                    <a:pt x="2609077" y="2040171"/>
                    <a:pt x="2609996" y="2047104"/>
                  </a:cubicBezTo>
                  <a:cubicBezTo>
                    <a:pt x="2614129" y="2050420"/>
                    <a:pt x="2618262" y="2053435"/>
                    <a:pt x="2622396" y="2056751"/>
                  </a:cubicBezTo>
                  <a:cubicBezTo>
                    <a:pt x="2626529" y="2057956"/>
                    <a:pt x="2631122" y="2058861"/>
                    <a:pt x="2635255" y="2060066"/>
                  </a:cubicBezTo>
                  <a:cubicBezTo>
                    <a:pt x="2639848" y="2064287"/>
                    <a:pt x="2644900" y="2068507"/>
                    <a:pt x="2649492" y="2072727"/>
                  </a:cubicBezTo>
                  <a:lnTo>
                    <a:pt x="2652707" y="2072727"/>
                  </a:lnTo>
                  <a:lnTo>
                    <a:pt x="2668781" y="2086895"/>
                  </a:lnTo>
                  <a:cubicBezTo>
                    <a:pt x="2670619" y="2092321"/>
                    <a:pt x="2672915" y="2097445"/>
                    <a:pt x="2674752" y="2102871"/>
                  </a:cubicBezTo>
                  <a:lnTo>
                    <a:pt x="2674752" y="2117039"/>
                  </a:lnTo>
                  <a:lnTo>
                    <a:pt x="2674752" y="2129700"/>
                  </a:lnTo>
                  <a:lnTo>
                    <a:pt x="2674752" y="2133016"/>
                  </a:lnTo>
                  <a:cubicBezTo>
                    <a:pt x="2675211" y="2138442"/>
                    <a:pt x="2676130" y="2143566"/>
                    <a:pt x="2676589" y="2148992"/>
                  </a:cubicBezTo>
                  <a:lnTo>
                    <a:pt x="2686234" y="2153514"/>
                  </a:lnTo>
                  <a:cubicBezTo>
                    <a:pt x="2688071" y="2161050"/>
                    <a:pt x="2690367" y="2168285"/>
                    <a:pt x="2692204" y="2175821"/>
                  </a:cubicBezTo>
                  <a:lnTo>
                    <a:pt x="2692204" y="2182151"/>
                  </a:lnTo>
                  <a:lnTo>
                    <a:pt x="2676589" y="2182151"/>
                  </a:lnTo>
                  <a:cubicBezTo>
                    <a:pt x="2669700" y="2177026"/>
                    <a:pt x="2662811" y="2171601"/>
                    <a:pt x="2655922" y="2166476"/>
                  </a:cubicBezTo>
                  <a:cubicBezTo>
                    <a:pt x="2646737" y="2160749"/>
                    <a:pt x="2638011" y="2154720"/>
                    <a:pt x="2628826" y="2148992"/>
                  </a:cubicBezTo>
                  <a:cubicBezTo>
                    <a:pt x="2627907" y="2144772"/>
                    <a:pt x="2626529" y="2140250"/>
                    <a:pt x="2625611" y="2136030"/>
                  </a:cubicBezTo>
                  <a:cubicBezTo>
                    <a:pt x="2622396" y="2131810"/>
                    <a:pt x="2619640" y="2127590"/>
                    <a:pt x="2616425" y="2123370"/>
                  </a:cubicBezTo>
                  <a:cubicBezTo>
                    <a:pt x="2615507" y="2117642"/>
                    <a:pt x="2614129" y="2111613"/>
                    <a:pt x="2613211" y="2105886"/>
                  </a:cubicBezTo>
                  <a:cubicBezTo>
                    <a:pt x="2610914" y="2100761"/>
                    <a:pt x="2609077" y="2095335"/>
                    <a:pt x="2606781" y="2090211"/>
                  </a:cubicBezTo>
                  <a:lnTo>
                    <a:pt x="2606781" y="2074234"/>
                  </a:lnTo>
                  <a:cubicBezTo>
                    <a:pt x="2605862" y="2072727"/>
                    <a:pt x="2604485" y="2070918"/>
                    <a:pt x="2603566" y="2069411"/>
                  </a:cubicBezTo>
                  <a:lnTo>
                    <a:pt x="2592544" y="2056751"/>
                  </a:lnTo>
                  <a:lnTo>
                    <a:pt x="2592544" y="2047104"/>
                  </a:lnTo>
                  <a:cubicBezTo>
                    <a:pt x="2587033" y="2043487"/>
                    <a:pt x="2581981" y="2039568"/>
                    <a:pt x="2576469" y="2035951"/>
                  </a:cubicBezTo>
                  <a:lnTo>
                    <a:pt x="2563610" y="2026606"/>
                  </a:lnTo>
                  <a:cubicBezTo>
                    <a:pt x="2563151" y="2030223"/>
                    <a:pt x="2562692" y="2034142"/>
                    <a:pt x="2562232" y="2037760"/>
                  </a:cubicBezTo>
                  <a:cubicBezTo>
                    <a:pt x="2561314" y="2034142"/>
                    <a:pt x="2559936" y="2030223"/>
                    <a:pt x="2559017" y="2026606"/>
                  </a:cubicBezTo>
                  <a:cubicBezTo>
                    <a:pt x="2559936" y="2021180"/>
                    <a:pt x="2561314" y="2016056"/>
                    <a:pt x="2562232" y="2010630"/>
                  </a:cubicBezTo>
                  <a:cubicBezTo>
                    <a:pt x="2563610" y="2003696"/>
                    <a:pt x="2565447" y="1997065"/>
                    <a:pt x="2566825" y="1990131"/>
                  </a:cubicBezTo>
                  <a:cubicBezTo>
                    <a:pt x="2565906" y="1983801"/>
                    <a:pt x="2564529" y="1977169"/>
                    <a:pt x="2563610" y="1970839"/>
                  </a:cubicBezTo>
                  <a:cubicBezTo>
                    <a:pt x="2566825" y="1966016"/>
                    <a:pt x="2570040" y="1961494"/>
                    <a:pt x="2573255" y="1956671"/>
                  </a:cubicBezTo>
                  <a:lnTo>
                    <a:pt x="2563610" y="1944011"/>
                  </a:lnTo>
                  <a:lnTo>
                    <a:pt x="2563610" y="1920197"/>
                  </a:lnTo>
                  <a:cubicBezTo>
                    <a:pt x="2562232" y="1915976"/>
                    <a:pt x="2560395" y="1911756"/>
                    <a:pt x="2559017" y="1907536"/>
                  </a:cubicBezTo>
                  <a:lnTo>
                    <a:pt x="2549373" y="1880406"/>
                  </a:lnTo>
                  <a:cubicBezTo>
                    <a:pt x="2548454" y="1869855"/>
                    <a:pt x="2547077" y="1859305"/>
                    <a:pt x="2546158" y="1848754"/>
                  </a:cubicBezTo>
                  <a:cubicBezTo>
                    <a:pt x="2542943" y="1843027"/>
                    <a:pt x="2540188" y="1836998"/>
                    <a:pt x="2536973" y="1831271"/>
                  </a:cubicBezTo>
                  <a:cubicBezTo>
                    <a:pt x="2533299" y="1836697"/>
                    <a:pt x="2529165" y="1841821"/>
                    <a:pt x="2525491" y="1847247"/>
                  </a:cubicBezTo>
                  <a:lnTo>
                    <a:pt x="2497017" y="1861415"/>
                  </a:lnTo>
                  <a:cubicBezTo>
                    <a:pt x="2493343" y="1860209"/>
                    <a:pt x="2489669" y="1859305"/>
                    <a:pt x="2485995" y="1858099"/>
                  </a:cubicBezTo>
                  <a:cubicBezTo>
                    <a:pt x="2480483" y="1855989"/>
                    <a:pt x="2475431" y="1853879"/>
                    <a:pt x="2469920" y="1851769"/>
                  </a:cubicBezTo>
                  <a:cubicBezTo>
                    <a:pt x="2473135" y="1841821"/>
                    <a:pt x="2476350" y="1831572"/>
                    <a:pt x="2479565" y="1821624"/>
                  </a:cubicBezTo>
                  <a:cubicBezTo>
                    <a:pt x="2478646" y="1814691"/>
                    <a:pt x="2477269" y="1808059"/>
                    <a:pt x="2476350" y="1801126"/>
                  </a:cubicBezTo>
                  <a:cubicBezTo>
                    <a:pt x="2469920" y="1792686"/>
                    <a:pt x="2463950" y="1783944"/>
                    <a:pt x="2457520" y="1775504"/>
                  </a:cubicBezTo>
                  <a:lnTo>
                    <a:pt x="2457520" y="1767666"/>
                  </a:lnTo>
                  <a:cubicBezTo>
                    <a:pt x="2453846" y="1766762"/>
                    <a:pt x="2450172" y="1765556"/>
                    <a:pt x="2446498" y="1764652"/>
                  </a:cubicBezTo>
                  <a:cubicBezTo>
                    <a:pt x="2440987" y="1758321"/>
                    <a:pt x="2435935" y="1751689"/>
                    <a:pt x="2430424" y="1745359"/>
                  </a:cubicBezTo>
                  <a:cubicBezTo>
                    <a:pt x="2428127" y="1741742"/>
                    <a:pt x="2426290" y="1737823"/>
                    <a:pt x="2423994" y="1734206"/>
                  </a:cubicBezTo>
                  <a:lnTo>
                    <a:pt x="2423994" y="1721545"/>
                  </a:lnTo>
                  <a:cubicBezTo>
                    <a:pt x="2423075" y="1718531"/>
                    <a:pt x="2421698" y="1715215"/>
                    <a:pt x="2420779" y="1712200"/>
                  </a:cubicBezTo>
                  <a:lnTo>
                    <a:pt x="2409757" y="1697731"/>
                  </a:lnTo>
                  <a:lnTo>
                    <a:pt x="2390927" y="1697731"/>
                  </a:lnTo>
                  <a:cubicBezTo>
                    <a:pt x="2391845" y="1700444"/>
                    <a:pt x="2393223" y="1703157"/>
                    <a:pt x="2394142" y="1705870"/>
                  </a:cubicBezTo>
                  <a:cubicBezTo>
                    <a:pt x="2390927" y="1710995"/>
                    <a:pt x="2387712" y="1716421"/>
                    <a:pt x="2384497" y="1721545"/>
                  </a:cubicBezTo>
                  <a:lnTo>
                    <a:pt x="2374853" y="1715215"/>
                  </a:lnTo>
                  <a:lnTo>
                    <a:pt x="2373475" y="1721545"/>
                  </a:lnTo>
                  <a:cubicBezTo>
                    <a:pt x="2371179" y="1720641"/>
                    <a:pt x="2369342" y="1719435"/>
                    <a:pt x="2367045" y="1718531"/>
                  </a:cubicBezTo>
                  <a:cubicBezTo>
                    <a:pt x="2364749" y="1717325"/>
                    <a:pt x="2362912" y="1716421"/>
                    <a:pt x="2360616" y="1715215"/>
                  </a:cubicBezTo>
                  <a:cubicBezTo>
                    <a:pt x="2358319" y="1717325"/>
                    <a:pt x="2356482" y="1719435"/>
                    <a:pt x="2354186" y="1721545"/>
                  </a:cubicBezTo>
                  <a:lnTo>
                    <a:pt x="2338571" y="1721545"/>
                  </a:lnTo>
                  <a:lnTo>
                    <a:pt x="2311474" y="1727875"/>
                  </a:lnTo>
                  <a:cubicBezTo>
                    <a:pt x="2312393" y="1732699"/>
                    <a:pt x="2313771" y="1737522"/>
                    <a:pt x="2314689" y="1742345"/>
                  </a:cubicBezTo>
                  <a:cubicBezTo>
                    <a:pt x="2310097" y="1747469"/>
                    <a:pt x="2305045" y="1752895"/>
                    <a:pt x="2300452" y="1758020"/>
                  </a:cubicBezTo>
                  <a:lnTo>
                    <a:pt x="2268763" y="1772489"/>
                  </a:lnTo>
                  <a:cubicBezTo>
                    <a:pt x="2260955" y="1782135"/>
                    <a:pt x="2252689" y="1791480"/>
                    <a:pt x="2244881" y="1801126"/>
                  </a:cubicBezTo>
                  <a:lnTo>
                    <a:pt x="2228807" y="1815294"/>
                  </a:lnTo>
                  <a:cubicBezTo>
                    <a:pt x="2221918" y="1820720"/>
                    <a:pt x="2215029" y="1825845"/>
                    <a:pt x="2208140" y="1831271"/>
                  </a:cubicBezTo>
                  <a:lnTo>
                    <a:pt x="2208140" y="1840615"/>
                  </a:lnTo>
                  <a:cubicBezTo>
                    <a:pt x="2204007" y="1842725"/>
                    <a:pt x="2199873" y="1845137"/>
                    <a:pt x="2195740" y="1847247"/>
                  </a:cubicBezTo>
                  <a:cubicBezTo>
                    <a:pt x="2188851" y="1849960"/>
                    <a:pt x="2181962" y="1852372"/>
                    <a:pt x="2175073" y="1855085"/>
                  </a:cubicBezTo>
                  <a:lnTo>
                    <a:pt x="2165428" y="1855085"/>
                  </a:lnTo>
                  <a:cubicBezTo>
                    <a:pt x="2163132" y="1861415"/>
                    <a:pt x="2161295" y="1867745"/>
                    <a:pt x="2158999" y="1874076"/>
                  </a:cubicBezTo>
                  <a:cubicBezTo>
                    <a:pt x="2159917" y="1884023"/>
                    <a:pt x="2161295" y="1894272"/>
                    <a:pt x="2162214" y="1904220"/>
                  </a:cubicBezTo>
                  <a:cubicBezTo>
                    <a:pt x="2163132" y="1910550"/>
                    <a:pt x="2164510" y="1916881"/>
                    <a:pt x="2165428" y="1923211"/>
                  </a:cubicBezTo>
                  <a:cubicBezTo>
                    <a:pt x="2161295" y="1930144"/>
                    <a:pt x="2156702" y="1937077"/>
                    <a:pt x="2152569" y="1944011"/>
                  </a:cubicBezTo>
                  <a:lnTo>
                    <a:pt x="2152569" y="1961494"/>
                  </a:lnTo>
                  <a:lnTo>
                    <a:pt x="2152569" y="1980485"/>
                  </a:lnTo>
                  <a:lnTo>
                    <a:pt x="2144762" y="1980485"/>
                  </a:lnTo>
                  <a:cubicBezTo>
                    <a:pt x="2140628" y="1986816"/>
                    <a:pt x="2136036" y="1993146"/>
                    <a:pt x="2131902" y="1999476"/>
                  </a:cubicBezTo>
                  <a:lnTo>
                    <a:pt x="2141547" y="2007615"/>
                  </a:lnTo>
                  <a:cubicBezTo>
                    <a:pt x="2134199" y="2008520"/>
                    <a:pt x="2126850" y="2009725"/>
                    <a:pt x="2119502" y="2010630"/>
                  </a:cubicBezTo>
                  <a:cubicBezTo>
                    <a:pt x="2116747" y="2016056"/>
                    <a:pt x="2113991" y="2021180"/>
                    <a:pt x="2111235" y="2026606"/>
                  </a:cubicBezTo>
                  <a:cubicBezTo>
                    <a:pt x="2108939" y="2028716"/>
                    <a:pt x="2107102" y="2030826"/>
                    <a:pt x="2104806" y="2032936"/>
                  </a:cubicBezTo>
                  <a:cubicBezTo>
                    <a:pt x="2097457" y="2025400"/>
                    <a:pt x="2090109" y="2018166"/>
                    <a:pt x="2082761" y="2010630"/>
                  </a:cubicBezTo>
                  <a:cubicBezTo>
                    <a:pt x="2079087" y="2001586"/>
                    <a:pt x="2075413" y="1992844"/>
                    <a:pt x="2071739" y="1983801"/>
                  </a:cubicBezTo>
                  <a:cubicBezTo>
                    <a:pt x="2069442" y="1975964"/>
                    <a:pt x="2067605" y="1967825"/>
                    <a:pt x="2065309" y="1959987"/>
                  </a:cubicBezTo>
                  <a:cubicBezTo>
                    <a:pt x="2062094" y="1956671"/>
                    <a:pt x="2058879" y="1953657"/>
                    <a:pt x="2055665" y="1950341"/>
                  </a:cubicBezTo>
                  <a:cubicBezTo>
                    <a:pt x="2052450" y="1941900"/>
                    <a:pt x="2049694" y="1933460"/>
                    <a:pt x="2046479" y="1925020"/>
                  </a:cubicBezTo>
                  <a:cubicBezTo>
                    <a:pt x="2044183" y="1915976"/>
                    <a:pt x="2042346" y="1906933"/>
                    <a:pt x="2040050" y="1897890"/>
                  </a:cubicBezTo>
                  <a:cubicBezTo>
                    <a:pt x="2038212" y="1893669"/>
                    <a:pt x="2036835" y="1889449"/>
                    <a:pt x="2034998" y="1885229"/>
                  </a:cubicBezTo>
                  <a:cubicBezTo>
                    <a:pt x="2028568" y="1874076"/>
                    <a:pt x="2022598" y="1862922"/>
                    <a:pt x="2016168" y="1851769"/>
                  </a:cubicBezTo>
                  <a:cubicBezTo>
                    <a:pt x="2012034" y="1837902"/>
                    <a:pt x="2007442" y="1824337"/>
                    <a:pt x="2003308" y="1810471"/>
                  </a:cubicBezTo>
                  <a:cubicBezTo>
                    <a:pt x="2002390" y="1800825"/>
                    <a:pt x="2001012" y="1791480"/>
                    <a:pt x="2000094" y="1781834"/>
                  </a:cubicBezTo>
                  <a:lnTo>
                    <a:pt x="2000094" y="1751689"/>
                  </a:lnTo>
                  <a:cubicBezTo>
                    <a:pt x="1998716" y="1744756"/>
                    <a:pt x="1996879" y="1738125"/>
                    <a:pt x="1995501" y="1731191"/>
                  </a:cubicBezTo>
                  <a:cubicBezTo>
                    <a:pt x="1984938" y="1734809"/>
                    <a:pt x="1974375" y="1738727"/>
                    <a:pt x="1963812" y="1742345"/>
                  </a:cubicBezTo>
                  <a:lnTo>
                    <a:pt x="1946360" y="1742345"/>
                  </a:lnTo>
                  <a:cubicBezTo>
                    <a:pt x="1937174" y="1733301"/>
                    <a:pt x="1928448" y="1724258"/>
                    <a:pt x="1919263" y="1715215"/>
                  </a:cubicBezTo>
                  <a:cubicBezTo>
                    <a:pt x="1922019" y="1712200"/>
                    <a:pt x="1924315" y="1708884"/>
                    <a:pt x="1927071" y="1705870"/>
                  </a:cubicBezTo>
                  <a:cubicBezTo>
                    <a:pt x="1926152" y="1703157"/>
                    <a:pt x="1924774" y="1700444"/>
                    <a:pt x="1923856" y="1697731"/>
                  </a:cubicBezTo>
                  <a:cubicBezTo>
                    <a:pt x="1915130" y="1691401"/>
                    <a:pt x="1905945" y="1685070"/>
                    <a:pt x="1897219" y="1678740"/>
                  </a:cubicBezTo>
                  <a:cubicBezTo>
                    <a:pt x="1892626" y="1675424"/>
                    <a:pt x="1887574" y="1672410"/>
                    <a:pt x="1882981" y="1669094"/>
                  </a:cubicBezTo>
                  <a:cubicBezTo>
                    <a:pt x="1879767" y="1664271"/>
                    <a:pt x="1876552" y="1659749"/>
                    <a:pt x="1873337" y="1654926"/>
                  </a:cubicBezTo>
                  <a:lnTo>
                    <a:pt x="1854048" y="1635935"/>
                  </a:lnTo>
                  <a:cubicBezTo>
                    <a:pt x="1840729" y="1636839"/>
                    <a:pt x="1827870" y="1638045"/>
                    <a:pt x="1814551" y="1638950"/>
                  </a:cubicBezTo>
                  <a:lnTo>
                    <a:pt x="1777810" y="1638950"/>
                  </a:lnTo>
                  <a:cubicBezTo>
                    <a:pt x="1767706" y="1640155"/>
                    <a:pt x="1758062" y="1641060"/>
                    <a:pt x="1747958" y="1642265"/>
                  </a:cubicBezTo>
                  <a:lnTo>
                    <a:pt x="1704787" y="1635935"/>
                  </a:lnTo>
                  <a:cubicBezTo>
                    <a:pt x="1696980" y="1634729"/>
                    <a:pt x="1689172" y="1633825"/>
                    <a:pt x="1681365" y="1632619"/>
                  </a:cubicBezTo>
                  <a:cubicBezTo>
                    <a:pt x="1673557" y="1631715"/>
                    <a:pt x="1665290" y="1630509"/>
                    <a:pt x="1657483" y="1629605"/>
                  </a:cubicBezTo>
                  <a:cubicBezTo>
                    <a:pt x="1654268" y="1619657"/>
                    <a:pt x="1651053" y="1609408"/>
                    <a:pt x="1647838" y="1599460"/>
                  </a:cubicBezTo>
                  <a:lnTo>
                    <a:pt x="1638194" y="1593130"/>
                  </a:lnTo>
                  <a:cubicBezTo>
                    <a:pt x="1632223" y="1595240"/>
                    <a:pt x="1626712" y="1597350"/>
                    <a:pt x="1620742" y="1599460"/>
                  </a:cubicBezTo>
                  <a:lnTo>
                    <a:pt x="1598697" y="1612121"/>
                  </a:lnTo>
                  <a:lnTo>
                    <a:pt x="1571601" y="1602475"/>
                  </a:lnTo>
                  <a:lnTo>
                    <a:pt x="1549556" y="1583484"/>
                  </a:lnTo>
                  <a:cubicBezTo>
                    <a:pt x="1542667" y="1580771"/>
                    <a:pt x="1535778" y="1578359"/>
                    <a:pt x="1528889" y="1575646"/>
                  </a:cubicBezTo>
                  <a:cubicBezTo>
                    <a:pt x="1522919" y="1569316"/>
                    <a:pt x="1517407" y="1562684"/>
                    <a:pt x="1511437" y="1556354"/>
                  </a:cubicBezTo>
                  <a:cubicBezTo>
                    <a:pt x="1505926" y="1545201"/>
                    <a:pt x="1500874" y="1534349"/>
                    <a:pt x="1495363" y="1523195"/>
                  </a:cubicBezTo>
                  <a:cubicBezTo>
                    <a:pt x="1492148" y="1524100"/>
                    <a:pt x="1488933" y="1525305"/>
                    <a:pt x="1485718" y="1526210"/>
                  </a:cubicBezTo>
                  <a:lnTo>
                    <a:pt x="1471481" y="1516865"/>
                  </a:lnTo>
                  <a:cubicBezTo>
                    <a:pt x="1468266" y="1521085"/>
                    <a:pt x="1465511" y="1525305"/>
                    <a:pt x="1462296" y="1529525"/>
                  </a:cubicBezTo>
                  <a:cubicBezTo>
                    <a:pt x="1456785" y="1528320"/>
                    <a:pt x="1451733" y="1527415"/>
                    <a:pt x="1446222" y="1526210"/>
                  </a:cubicBezTo>
                  <a:cubicBezTo>
                    <a:pt x="1448518" y="1529525"/>
                    <a:pt x="1450355" y="1532540"/>
                    <a:pt x="1452651" y="1535856"/>
                  </a:cubicBezTo>
                  <a:cubicBezTo>
                    <a:pt x="1451733" y="1537966"/>
                    <a:pt x="1450355" y="1540076"/>
                    <a:pt x="1449436" y="1542186"/>
                  </a:cubicBezTo>
                  <a:cubicBezTo>
                    <a:pt x="1452651" y="1547914"/>
                    <a:pt x="1455866" y="1553942"/>
                    <a:pt x="1459081" y="1559670"/>
                  </a:cubicBezTo>
                  <a:cubicBezTo>
                    <a:pt x="1462296" y="1567206"/>
                    <a:pt x="1465051" y="1574441"/>
                    <a:pt x="1468266" y="1581977"/>
                  </a:cubicBezTo>
                  <a:lnTo>
                    <a:pt x="1476533" y="1586498"/>
                  </a:lnTo>
                  <a:cubicBezTo>
                    <a:pt x="1478370" y="1588608"/>
                    <a:pt x="1480666" y="1591020"/>
                    <a:pt x="1482503" y="1593130"/>
                  </a:cubicBezTo>
                  <a:cubicBezTo>
                    <a:pt x="1486637" y="1597350"/>
                    <a:pt x="1491229" y="1601571"/>
                    <a:pt x="1495363" y="1605791"/>
                  </a:cubicBezTo>
                  <a:cubicBezTo>
                    <a:pt x="1496281" y="1610011"/>
                    <a:pt x="1497659" y="1614231"/>
                    <a:pt x="1498578" y="1618451"/>
                  </a:cubicBezTo>
                  <a:cubicBezTo>
                    <a:pt x="1497659" y="1619959"/>
                    <a:pt x="1496281" y="1621767"/>
                    <a:pt x="1495363" y="1623274"/>
                  </a:cubicBezTo>
                  <a:cubicBezTo>
                    <a:pt x="1496281" y="1626289"/>
                    <a:pt x="1497659" y="1629605"/>
                    <a:pt x="1498578" y="1632619"/>
                  </a:cubicBezTo>
                  <a:lnTo>
                    <a:pt x="1508222" y="1635935"/>
                  </a:lnTo>
                  <a:lnTo>
                    <a:pt x="1508222" y="1645280"/>
                  </a:lnTo>
                  <a:cubicBezTo>
                    <a:pt x="1509141" y="1647390"/>
                    <a:pt x="1510519" y="1649500"/>
                    <a:pt x="1511437" y="1651610"/>
                  </a:cubicBezTo>
                  <a:cubicBezTo>
                    <a:pt x="1510519" y="1646486"/>
                    <a:pt x="1509141" y="1641060"/>
                    <a:pt x="1508222" y="1635935"/>
                  </a:cubicBezTo>
                  <a:cubicBezTo>
                    <a:pt x="1510978" y="1631112"/>
                    <a:pt x="1513274" y="1626289"/>
                    <a:pt x="1516030" y="1621466"/>
                  </a:cubicBezTo>
                  <a:lnTo>
                    <a:pt x="1522459" y="1621466"/>
                  </a:lnTo>
                  <a:cubicBezTo>
                    <a:pt x="1524756" y="1622973"/>
                    <a:pt x="1526593" y="1624782"/>
                    <a:pt x="1528889" y="1626289"/>
                  </a:cubicBezTo>
                  <a:cubicBezTo>
                    <a:pt x="1529808" y="1630509"/>
                    <a:pt x="1531185" y="1634729"/>
                    <a:pt x="1532104" y="1638950"/>
                  </a:cubicBezTo>
                  <a:lnTo>
                    <a:pt x="1525674" y="1654926"/>
                  </a:lnTo>
                  <a:cubicBezTo>
                    <a:pt x="1526593" y="1657639"/>
                    <a:pt x="1527971" y="1660051"/>
                    <a:pt x="1528889" y="1662764"/>
                  </a:cubicBezTo>
                  <a:cubicBezTo>
                    <a:pt x="1531185" y="1661859"/>
                    <a:pt x="1533022" y="1660654"/>
                    <a:pt x="1535319" y="1659749"/>
                  </a:cubicBezTo>
                  <a:lnTo>
                    <a:pt x="1535319" y="1669094"/>
                  </a:lnTo>
                  <a:cubicBezTo>
                    <a:pt x="1541289" y="1666984"/>
                    <a:pt x="1546800" y="1664874"/>
                    <a:pt x="1552771" y="1662764"/>
                  </a:cubicBezTo>
                  <a:cubicBezTo>
                    <a:pt x="1557823" y="1663969"/>
                    <a:pt x="1563334" y="1664874"/>
                    <a:pt x="1568386" y="1666079"/>
                  </a:cubicBezTo>
                  <a:lnTo>
                    <a:pt x="1584460" y="1666079"/>
                  </a:lnTo>
                  <a:cubicBezTo>
                    <a:pt x="1589053" y="1661256"/>
                    <a:pt x="1594104" y="1656433"/>
                    <a:pt x="1598697" y="1651610"/>
                  </a:cubicBezTo>
                  <a:cubicBezTo>
                    <a:pt x="1603749" y="1646486"/>
                    <a:pt x="1609260" y="1641060"/>
                    <a:pt x="1614312" y="1635935"/>
                  </a:cubicBezTo>
                  <a:cubicBezTo>
                    <a:pt x="1618905" y="1631112"/>
                    <a:pt x="1623957" y="1626289"/>
                    <a:pt x="1628549" y="1621466"/>
                  </a:cubicBezTo>
                  <a:cubicBezTo>
                    <a:pt x="1629468" y="1624179"/>
                    <a:pt x="1630846" y="1626892"/>
                    <a:pt x="1631764" y="1629605"/>
                  </a:cubicBezTo>
                  <a:cubicBezTo>
                    <a:pt x="1632683" y="1635935"/>
                    <a:pt x="1634060" y="1642265"/>
                    <a:pt x="1634979" y="1648596"/>
                  </a:cubicBezTo>
                  <a:cubicBezTo>
                    <a:pt x="1638194" y="1653419"/>
                    <a:pt x="1641409" y="1657941"/>
                    <a:pt x="1644624" y="1662764"/>
                  </a:cubicBezTo>
                  <a:cubicBezTo>
                    <a:pt x="1648757" y="1666079"/>
                    <a:pt x="1653350" y="1669094"/>
                    <a:pt x="1657483" y="1672410"/>
                  </a:cubicBezTo>
                  <a:cubicBezTo>
                    <a:pt x="1662076" y="1673314"/>
                    <a:pt x="1667127" y="1674520"/>
                    <a:pt x="1671720" y="1675424"/>
                  </a:cubicBezTo>
                  <a:cubicBezTo>
                    <a:pt x="1676772" y="1677534"/>
                    <a:pt x="1682283" y="1679946"/>
                    <a:pt x="1687335" y="1682056"/>
                  </a:cubicBezTo>
                  <a:cubicBezTo>
                    <a:pt x="1691468" y="1686276"/>
                    <a:pt x="1696061" y="1690496"/>
                    <a:pt x="1700194" y="1694717"/>
                  </a:cubicBezTo>
                  <a:cubicBezTo>
                    <a:pt x="1700654" y="1696224"/>
                    <a:pt x="1701113" y="1698033"/>
                    <a:pt x="1701572" y="1699540"/>
                  </a:cubicBezTo>
                  <a:cubicBezTo>
                    <a:pt x="1704787" y="1700444"/>
                    <a:pt x="1708002" y="1701650"/>
                    <a:pt x="1711217" y="1702554"/>
                  </a:cubicBezTo>
                  <a:lnTo>
                    <a:pt x="1711217" y="1708884"/>
                  </a:lnTo>
                  <a:lnTo>
                    <a:pt x="1701572" y="1721545"/>
                  </a:lnTo>
                  <a:lnTo>
                    <a:pt x="1700194" y="1727875"/>
                  </a:lnTo>
                  <a:lnTo>
                    <a:pt x="1690550" y="1736014"/>
                  </a:lnTo>
                  <a:cubicBezTo>
                    <a:pt x="1687335" y="1741139"/>
                    <a:pt x="1684579" y="1746565"/>
                    <a:pt x="1681365" y="1751689"/>
                  </a:cubicBezTo>
                  <a:lnTo>
                    <a:pt x="1671720" y="1751689"/>
                  </a:lnTo>
                  <a:cubicBezTo>
                    <a:pt x="1669424" y="1753800"/>
                    <a:pt x="1667587" y="1755910"/>
                    <a:pt x="1665290" y="1758020"/>
                  </a:cubicBezTo>
                  <a:cubicBezTo>
                    <a:pt x="1664372" y="1761336"/>
                    <a:pt x="1662994" y="1764350"/>
                    <a:pt x="1662076" y="1767666"/>
                  </a:cubicBezTo>
                  <a:cubicBezTo>
                    <a:pt x="1662994" y="1773393"/>
                    <a:pt x="1664372" y="1779422"/>
                    <a:pt x="1665290" y="1785150"/>
                  </a:cubicBezTo>
                  <a:lnTo>
                    <a:pt x="1662076" y="1785150"/>
                  </a:lnTo>
                  <a:lnTo>
                    <a:pt x="1654268" y="1785150"/>
                  </a:lnTo>
                  <a:cubicBezTo>
                    <a:pt x="1650135" y="1788466"/>
                    <a:pt x="1645542" y="1791480"/>
                    <a:pt x="1641409" y="1794796"/>
                  </a:cubicBezTo>
                  <a:cubicBezTo>
                    <a:pt x="1640490" y="1797810"/>
                    <a:pt x="1639112" y="1801126"/>
                    <a:pt x="1638194" y="1804141"/>
                  </a:cubicBezTo>
                  <a:cubicBezTo>
                    <a:pt x="1635897" y="1806251"/>
                    <a:pt x="1634060" y="1808361"/>
                    <a:pt x="1631764" y="1810471"/>
                  </a:cubicBezTo>
                  <a:lnTo>
                    <a:pt x="1617527" y="1810471"/>
                  </a:lnTo>
                  <a:cubicBezTo>
                    <a:pt x="1615231" y="1811978"/>
                    <a:pt x="1613394" y="1813787"/>
                    <a:pt x="1611097" y="1815294"/>
                  </a:cubicBezTo>
                  <a:lnTo>
                    <a:pt x="1611097" y="1824940"/>
                  </a:lnTo>
                  <a:lnTo>
                    <a:pt x="1598697" y="1831271"/>
                  </a:lnTo>
                  <a:cubicBezTo>
                    <a:pt x="1595023" y="1830065"/>
                    <a:pt x="1591349" y="1829161"/>
                    <a:pt x="1587675" y="1827955"/>
                  </a:cubicBezTo>
                  <a:cubicBezTo>
                    <a:pt x="1583541" y="1831271"/>
                    <a:pt x="1578949" y="1834285"/>
                    <a:pt x="1574815" y="1837601"/>
                  </a:cubicBezTo>
                  <a:lnTo>
                    <a:pt x="1561956" y="1840615"/>
                  </a:lnTo>
                  <a:lnTo>
                    <a:pt x="1547719" y="1847247"/>
                  </a:lnTo>
                  <a:cubicBezTo>
                    <a:pt x="1545423" y="1849960"/>
                    <a:pt x="1543585" y="1852372"/>
                    <a:pt x="1541289" y="1855085"/>
                  </a:cubicBezTo>
                  <a:lnTo>
                    <a:pt x="1541289" y="1861415"/>
                  </a:lnTo>
                  <a:cubicBezTo>
                    <a:pt x="1533941" y="1864731"/>
                    <a:pt x="1526593" y="1867745"/>
                    <a:pt x="1519245" y="1871061"/>
                  </a:cubicBezTo>
                  <a:lnTo>
                    <a:pt x="1485718" y="1883722"/>
                  </a:lnTo>
                  <a:cubicBezTo>
                    <a:pt x="1478829" y="1888545"/>
                    <a:pt x="1471940" y="1893067"/>
                    <a:pt x="1465051" y="1897890"/>
                  </a:cubicBezTo>
                  <a:cubicBezTo>
                    <a:pt x="1460918" y="1899095"/>
                    <a:pt x="1456785" y="1900000"/>
                    <a:pt x="1452651" y="1901206"/>
                  </a:cubicBezTo>
                  <a:cubicBezTo>
                    <a:pt x="1450355" y="1900000"/>
                    <a:pt x="1448518" y="1899095"/>
                    <a:pt x="1446222" y="1897890"/>
                  </a:cubicBezTo>
                  <a:cubicBezTo>
                    <a:pt x="1442547" y="1901206"/>
                    <a:pt x="1438873" y="1904220"/>
                    <a:pt x="1435199" y="1907536"/>
                  </a:cubicBezTo>
                  <a:cubicBezTo>
                    <a:pt x="1431066" y="1908440"/>
                    <a:pt x="1426473" y="1909646"/>
                    <a:pt x="1422340" y="1910550"/>
                  </a:cubicBezTo>
                  <a:cubicBezTo>
                    <a:pt x="1415910" y="1911756"/>
                    <a:pt x="1409940" y="1912660"/>
                    <a:pt x="1403510" y="1913866"/>
                  </a:cubicBezTo>
                  <a:lnTo>
                    <a:pt x="1398458" y="1913866"/>
                  </a:lnTo>
                  <a:cubicBezTo>
                    <a:pt x="1396162" y="1915976"/>
                    <a:pt x="1394325" y="1918086"/>
                    <a:pt x="1392028" y="1920197"/>
                  </a:cubicBezTo>
                  <a:cubicBezTo>
                    <a:pt x="1390191" y="1921101"/>
                    <a:pt x="1387895" y="1922307"/>
                    <a:pt x="1386058" y="1923211"/>
                  </a:cubicBezTo>
                  <a:cubicBezTo>
                    <a:pt x="1385140" y="1923814"/>
                    <a:pt x="1383762" y="1924417"/>
                    <a:pt x="1382843" y="1925020"/>
                  </a:cubicBezTo>
                  <a:lnTo>
                    <a:pt x="1369984" y="1925020"/>
                  </a:lnTo>
                  <a:cubicBezTo>
                    <a:pt x="1369065" y="1925924"/>
                    <a:pt x="1367687" y="1927130"/>
                    <a:pt x="1366769" y="1928034"/>
                  </a:cubicBezTo>
                  <a:lnTo>
                    <a:pt x="1349317" y="1928034"/>
                  </a:lnTo>
                  <a:cubicBezTo>
                    <a:pt x="1348398" y="1924417"/>
                    <a:pt x="1347021" y="1920498"/>
                    <a:pt x="1346102" y="1916881"/>
                  </a:cubicBezTo>
                  <a:lnTo>
                    <a:pt x="1346102" y="1904220"/>
                  </a:lnTo>
                  <a:cubicBezTo>
                    <a:pt x="1345184" y="1902110"/>
                    <a:pt x="1343806" y="1900000"/>
                    <a:pt x="1342887" y="1897890"/>
                  </a:cubicBezTo>
                  <a:cubicBezTo>
                    <a:pt x="1340591" y="1892162"/>
                    <a:pt x="1338754" y="1886133"/>
                    <a:pt x="1336458" y="1880406"/>
                  </a:cubicBezTo>
                  <a:cubicBezTo>
                    <a:pt x="1334621" y="1877392"/>
                    <a:pt x="1332324" y="1874076"/>
                    <a:pt x="1330487" y="1871061"/>
                  </a:cubicBezTo>
                  <a:lnTo>
                    <a:pt x="1333702" y="1871061"/>
                  </a:lnTo>
                  <a:cubicBezTo>
                    <a:pt x="1332783" y="1867745"/>
                    <a:pt x="1331406" y="1864731"/>
                    <a:pt x="1330487" y="1861415"/>
                  </a:cubicBezTo>
                  <a:cubicBezTo>
                    <a:pt x="1331406" y="1859305"/>
                    <a:pt x="1332783" y="1857195"/>
                    <a:pt x="1333702" y="1855085"/>
                  </a:cubicBezTo>
                  <a:lnTo>
                    <a:pt x="1333702" y="1847247"/>
                  </a:lnTo>
                  <a:cubicBezTo>
                    <a:pt x="1332783" y="1843931"/>
                    <a:pt x="1331406" y="1840917"/>
                    <a:pt x="1330487" y="1837601"/>
                  </a:cubicBezTo>
                  <a:cubicBezTo>
                    <a:pt x="1328191" y="1834285"/>
                    <a:pt x="1326354" y="1831271"/>
                    <a:pt x="1324057" y="1827955"/>
                  </a:cubicBezTo>
                  <a:lnTo>
                    <a:pt x="1324057" y="1818610"/>
                  </a:lnTo>
                  <a:lnTo>
                    <a:pt x="1313035" y="1812280"/>
                  </a:lnTo>
                  <a:cubicBezTo>
                    <a:pt x="1308902" y="1805346"/>
                    <a:pt x="1304309" y="1798413"/>
                    <a:pt x="1300176" y="1791480"/>
                  </a:cubicBezTo>
                  <a:cubicBezTo>
                    <a:pt x="1297879" y="1785150"/>
                    <a:pt x="1296042" y="1778819"/>
                    <a:pt x="1293746" y="1772489"/>
                  </a:cubicBezTo>
                  <a:cubicBezTo>
                    <a:pt x="1289153" y="1767666"/>
                    <a:pt x="1284101" y="1762843"/>
                    <a:pt x="1279509" y="1758020"/>
                  </a:cubicBezTo>
                  <a:cubicBezTo>
                    <a:pt x="1275375" y="1757115"/>
                    <a:pt x="1270783" y="1755910"/>
                    <a:pt x="1266649" y="1755005"/>
                  </a:cubicBezTo>
                  <a:cubicBezTo>
                    <a:pt x="1261598" y="1748072"/>
                    <a:pt x="1256086" y="1741139"/>
                    <a:pt x="1251035" y="1734206"/>
                  </a:cubicBezTo>
                  <a:cubicBezTo>
                    <a:pt x="1250575" y="1729081"/>
                    <a:pt x="1249657" y="1723655"/>
                    <a:pt x="1249197" y="1718531"/>
                  </a:cubicBezTo>
                  <a:lnTo>
                    <a:pt x="1249197" y="1699540"/>
                  </a:lnTo>
                  <a:lnTo>
                    <a:pt x="1236797" y="1678740"/>
                  </a:lnTo>
                  <a:lnTo>
                    <a:pt x="1227153" y="1666079"/>
                  </a:lnTo>
                  <a:cubicBezTo>
                    <a:pt x="1223019" y="1663969"/>
                    <a:pt x="1218427" y="1661859"/>
                    <a:pt x="1214293" y="1659749"/>
                  </a:cubicBezTo>
                  <a:cubicBezTo>
                    <a:pt x="1212916" y="1656132"/>
                    <a:pt x="1211079" y="1652213"/>
                    <a:pt x="1209701" y="1648596"/>
                  </a:cubicBezTo>
                  <a:lnTo>
                    <a:pt x="1211079" y="1642265"/>
                  </a:lnTo>
                  <a:cubicBezTo>
                    <a:pt x="1208323" y="1638950"/>
                    <a:pt x="1206027" y="1635935"/>
                    <a:pt x="1203271" y="1632619"/>
                  </a:cubicBezTo>
                  <a:cubicBezTo>
                    <a:pt x="1200975" y="1630509"/>
                    <a:pt x="1199138" y="1628399"/>
                    <a:pt x="1196841" y="1626289"/>
                  </a:cubicBezTo>
                  <a:cubicBezTo>
                    <a:pt x="1194545" y="1620561"/>
                    <a:pt x="1192708" y="1614533"/>
                    <a:pt x="1190412" y="1608805"/>
                  </a:cubicBezTo>
                  <a:cubicBezTo>
                    <a:pt x="1185360" y="1602475"/>
                    <a:pt x="1179849" y="1596145"/>
                    <a:pt x="1174797" y="1589814"/>
                  </a:cubicBezTo>
                  <a:cubicBezTo>
                    <a:pt x="1171123" y="1584991"/>
                    <a:pt x="1167449" y="1580469"/>
                    <a:pt x="1163774" y="1575646"/>
                  </a:cubicBezTo>
                  <a:lnTo>
                    <a:pt x="1150915" y="1575646"/>
                  </a:lnTo>
                  <a:cubicBezTo>
                    <a:pt x="1153211" y="1570220"/>
                    <a:pt x="1155048" y="1565096"/>
                    <a:pt x="1157345" y="1559670"/>
                  </a:cubicBezTo>
                  <a:lnTo>
                    <a:pt x="1157345" y="1553340"/>
                  </a:lnTo>
                  <a:cubicBezTo>
                    <a:pt x="1158263" y="1549722"/>
                    <a:pt x="1159641" y="1545803"/>
                    <a:pt x="1160560" y="1542186"/>
                  </a:cubicBezTo>
                  <a:lnTo>
                    <a:pt x="1160560" y="1538870"/>
                  </a:lnTo>
                  <a:lnTo>
                    <a:pt x="1150915" y="1547009"/>
                  </a:lnTo>
                  <a:cubicBezTo>
                    <a:pt x="1149996" y="1553340"/>
                    <a:pt x="1148619" y="1559670"/>
                    <a:pt x="1147700" y="1566000"/>
                  </a:cubicBezTo>
                  <a:cubicBezTo>
                    <a:pt x="1145404" y="1570220"/>
                    <a:pt x="1143567" y="1574441"/>
                    <a:pt x="1141270" y="1578661"/>
                  </a:cubicBezTo>
                  <a:cubicBezTo>
                    <a:pt x="1139893" y="1579867"/>
                    <a:pt x="1138056" y="1580771"/>
                    <a:pt x="1136678" y="1581977"/>
                  </a:cubicBezTo>
                  <a:cubicBezTo>
                    <a:pt x="1134382" y="1579867"/>
                    <a:pt x="1132544" y="1577756"/>
                    <a:pt x="1130248" y="1575646"/>
                  </a:cubicBezTo>
                  <a:cubicBezTo>
                    <a:pt x="1127033" y="1572331"/>
                    <a:pt x="1123818" y="1569316"/>
                    <a:pt x="1120604" y="1566000"/>
                  </a:cubicBezTo>
                  <a:cubicBezTo>
                    <a:pt x="1115552" y="1554847"/>
                    <a:pt x="1110041" y="1543693"/>
                    <a:pt x="1104989" y="1532540"/>
                  </a:cubicBezTo>
                  <a:lnTo>
                    <a:pt x="1101774" y="1532540"/>
                  </a:lnTo>
                  <a:lnTo>
                    <a:pt x="1111418" y="1559670"/>
                  </a:lnTo>
                  <a:cubicBezTo>
                    <a:pt x="1116470" y="1567206"/>
                    <a:pt x="1121981" y="1574441"/>
                    <a:pt x="1127033" y="1581977"/>
                  </a:cubicBezTo>
                  <a:cubicBezTo>
                    <a:pt x="1131626" y="1595240"/>
                    <a:pt x="1136678" y="1608202"/>
                    <a:pt x="1141270" y="1621466"/>
                  </a:cubicBezTo>
                  <a:cubicBezTo>
                    <a:pt x="1143567" y="1625083"/>
                    <a:pt x="1145404" y="1629002"/>
                    <a:pt x="1147700" y="1632619"/>
                  </a:cubicBezTo>
                  <a:lnTo>
                    <a:pt x="1157345" y="1645280"/>
                  </a:lnTo>
                  <a:cubicBezTo>
                    <a:pt x="1163315" y="1654323"/>
                    <a:pt x="1168826" y="1663366"/>
                    <a:pt x="1174797" y="1672410"/>
                  </a:cubicBezTo>
                  <a:cubicBezTo>
                    <a:pt x="1174337" y="1673314"/>
                    <a:pt x="1173419" y="1674520"/>
                    <a:pt x="1172960" y="1675424"/>
                  </a:cubicBezTo>
                  <a:cubicBezTo>
                    <a:pt x="1173419" y="1680850"/>
                    <a:pt x="1174337" y="1685975"/>
                    <a:pt x="1174797" y="1691401"/>
                  </a:cubicBezTo>
                  <a:lnTo>
                    <a:pt x="1196841" y="1712200"/>
                  </a:lnTo>
                  <a:cubicBezTo>
                    <a:pt x="1199138" y="1713105"/>
                    <a:pt x="1200975" y="1714310"/>
                    <a:pt x="1203271" y="1715215"/>
                  </a:cubicBezTo>
                  <a:cubicBezTo>
                    <a:pt x="1205567" y="1723052"/>
                    <a:pt x="1207404" y="1731191"/>
                    <a:pt x="1209701" y="1739029"/>
                  </a:cubicBezTo>
                  <a:cubicBezTo>
                    <a:pt x="1208782" y="1740235"/>
                    <a:pt x="1207404" y="1741139"/>
                    <a:pt x="1206486" y="1742345"/>
                  </a:cubicBezTo>
                  <a:cubicBezTo>
                    <a:pt x="1207404" y="1750785"/>
                    <a:pt x="1208782" y="1759226"/>
                    <a:pt x="1209701" y="1767666"/>
                  </a:cubicBezTo>
                  <a:cubicBezTo>
                    <a:pt x="1211079" y="1776709"/>
                    <a:pt x="1212916" y="1785753"/>
                    <a:pt x="1214293" y="1794796"/>
                  </a:cubicBezTo>
                  <a:lnTo>
                    <a:pt x="1223938" y="1801126"/>
                  </a:lnTo>
                  <a:cubicBezTo>
                    <a:pt x="1228071" y="1803236"/>
                    <a:pt x="1232664" y="1805346"/>
                    <a:pt x="1236797" y="1807457"/>
                  </a:cubicBezTo>
                  <a:cubicBezTo>
                    <a:pt x="1240931" y="1816500"/>
                    <a:pt x="1245064" y="1825242"/>
                    <a:pt x="1249197" y="1834285"/>
                  </a:cubicBezTo>
                  <a:cubicBezTo>
                    <a:pt x="1251035" y="1841218"/>
                    <a:pt x="1252412" y="1848151"/>
                    <a:pt x="1254249" y="1855085"/>
                  </a:cubicBezTo>
                  <a:cubicBezTo>
                    <a:pt x="1258383" y="1858099"/>
                    <a:pt x="1262516" y="1861415"/>
                    <a:pt x="1266649" y="1864429"/>
                  </a:cubicBezTo>
                  <a:cubicBezTo>
                    <a:pt x="1277672" y="1871363"/>
                    <a:pt x="1289153" y="1878296"/>
                    <a:pt x="1300176" y="1885229"/>
                  </a:cubicBezTo>
                  <a:cubicBezTo>
                    <a:pt x="1304309" y="1890655"/>
                    <a:pt x="1308902" y="1895780"/>
                    <a:pt x="1313035" y="1901206"/>
                  </a:cubicBezTo>
                  <a:lnTo>
                    <a:pt x="1324057" y="1913866"/>
                  </a:lnTo>
                  <a:cubicBezTo>
                    <a:pt x="1324976" y="1916881"/>
                    <a:pt x="1326354" y="1920197"/>
                    <a:pt x="1327272" y="1923211"/>
                  </a:cubicBezTo>
                  <a:lnTo>
                    <a:pt x="1342887" y="1925020"/>
                  </a:lnTo>
                  <a:cubicBezTo>
                    <a:pt x="1343806" y="1928034"/>
                    <a:pt x="1345184" y="1931350"/>
                    <a:pt x="1346102" y="1934364"/>
                  </a:cubicBezTo>
                  <a:lnTo>
                    <a:pt x="1346102" y="1944011"/>
                  </a:lnTo>
                  <a:lnTo>
                    <a:pt x="1333702" y="1950341"/>
                  </a:lnTo>
                  <a:cubicBezTo>
                    <a:pt x="1336917" y="1952451"/>
                    <a:pt x="1339672" y="1954561"/>
                    <a:pt x="1342887" y="1956671"/>
                  </a:cubicBezTo>
                  <a:cubicBezTo>
                    <a:pt x="1345184" y="1957877"/>
                    <a:pt x="1347021" y="1958781"/>
                    <a:pt x="1349317" y="1959987"/>
                  </a:cubicBezTo>
                  <a:cubicBezTo>
                    <a:pt x="1350235" y="1962700"/>
                    <a:pt x="1351613" y="1965112"/>
                    <a:pt x="1352532" y="1967825"/>
                  </a:cubicBezTo>
                  <a:cubicBezTo>
                    <a:pt x="1356206" y="1971141"/>
                    <a:pt x="1359880" y="1974155"/>
                    <a:pt x="1363554" y="1977471"/>
                  </a:cubicBezTo>
                  <a:lnTo>
                    <a:pt x="1373199" y="1977471"/>
                  </a:lnTo>
                  <a:cubicBezTo>
                    <a:pt x="1380547" y="1975361"/>
                    <a:pt x="1387895" y="1972949"/>
                    <a:pt x="1395243" y="1970839"/>
                  </a:cubicBezTo>
                  <a:cubicBezTo>
                    <a:pt x="1403051" y="1969935"/>
                    <a:pt x="1411318" y="1968729"/>
                    <a:pt x="1419125" y="1967825"/>
                  </a:cubicBezTo>
                  <a:cubicBezTo>
                    <a:pt x="1426014" y="1966619"/>
                    <a:pt x="1432903" y="1965715"/>
                    <a:pt x="1439792" y="1964509"/>
                  </a:cubicBezTo>
                  <a:cubicBezTo>
                    <a:pt x="1443007" y="1963604"/>
                    <a:pt x="1446222" y="1962399"/>
                    <a:pt x="1449436" y="1961494"/>
                  </a:cubicBezTo>
                  <a:cubicBezTo>
                    <a:pt x="1452651" y="1959987"/>
                    <a:pt x="1455866" y="1958178"/>
                    <a:pt x="1459081" y="1956671"/>
                  </a:cubicBezTo>
                  <a:lnTo>
                    <a:pt x="1471481" y="1956671"/>
                  </a:lnTo>
                  <a:lnTo>
                    <a:pt x="1476533" y="1956671"/>
                  </a:lnTo>
                  <a:cubicBezTo>
                    <a:pt x="1480666" y="1955767"/>
                    <a:pt x="1484800" y="1954561"/>
                    <a:pt x="1488933" y="1953657"/>
                  </a:cubicBezTo>
                  <a:cubicBezTo>
                    <a:pt x="1492148" y="1952451"/>
                    <a:pt x="1495363" y="1951547"/>
                    <a:pt x="1498578" y="1950341"/>
                  </a:cubicBezTo>
                  <a:lnTo>
                    <a:pt x="1508222" y="1944011"/>
                  </a:lnTo>
                  <a:lnTo>
                    <a:pt x="1516030" y="1944011"/>
                  </a:lnTo>
                  <a:cubicBezTo>
                    <a:pt x="1516948" y="1946121"/>
                    <a:pt x="1518326" y="1948231"/>
                    <a:pt x="1519245" y="1950341"/>
                  </a:cubicBezTo>
                  <a:cubicBezTo>
                    <a:pt x="1518326" y="1953958"/>
                    <a:pt x="1516948" y="1957877"/>
                    <a:pt x="1516030" y="1961494"/>
                  </a:cubicBezTo>
                  <a:lnTo>
                    <a:pt x="1516030" y="1974155"/>
                  </a:lnTo>
                  <a:cubicBezTo>
                    <a:pt x="1514652" y="1977471"/>
                    <a:pt x="1512815" y="1980485"/>
                    <a:pt x="1511437" y="1983801"/>
                  </a:cubicBezTo>
                  <a:cubicBezTo>
                    <a:pt x="1510519" y="1991639"/>
                    <a:pt x="1509141" y="1999778"/>
                    <a:pt x="1508222" y="2007615"/>
                  </a:cubicBezTo>
                  <a:cubicBezTo>
                    <a:pt x="1504089" y="2014850"/>
                    <a:pt x="1499496" y="2022386"/>
                    <a:pt x="1495363" y="2029621"/>
                  </a:cubicBezTo>
                  <a:cubicBezTo>
                    <a:pt x="1491229" y="2039870"/>
                    <a:pt x="1486637" y="2049817"/>
                    <a:pt x="1482503" y="2060066"/>
                  </a:cubicBezTo>
                  <a:cubicBezTo>
                    <a:pt x="1475614" y="2070014"/>
                    <a:pt x="1469185" y="2080263"/>
                    <a:pt x="1462296" y="2090211"/>
                  </a:cubicBezTo>
                  <a:cubicBezTo>
                    <a:pt x="1455866" y="2098048"/>
                    <a:pt x="1449436" y="2106187"/>
                    <a:pt x="1443007" y="2114025"/>
                  </a:cubicBezTo>
                  <a:cubicBezTo>
                    <a:pt x="1435199" y="2125781"/>
                    <a:pt x="1426933" y="2137236"/>
                    <a:pt x="1419125" y="2148992"/>
                  </a:cubicBezTo>
                  <a:lnTo>
                    <a:pt x="1395243" y="2166476"/>
                  </a:lnTo>
                  <a:cubicBezTo>
                    <a:pt x="1384680" y="2173409"/>
                    <a:pt x="1374117" y="2180041"/>
                    <a:pt x="1363554" y="2186974"/>
                  </a:cubicBezTo>
                  <a:cubicBezTo>
                    <a:pt x="1356665" y="2192400"/>
                    <a:pt x="1349776" y="2197525"/>
                    <a:pt x="1342887" y="2202951"/>
                  </a:cubicBezTo>
                  <a:cubicBezTo>
                    <a:pt x="1335080" y="2211994"/>
                    <a:pt x="1326813" y="2220736"/>
                    <a:pt x="1319006" y="2229779"/>
                  </a:cubicBezTo>
                  <a:cubicBezTo>
                    <a:pt x="1317168" y="2233999"/>
                    <a:pt x="1314872" y="2238220"/>
                    <a:pt x="1313035" y="2242440"/>
                  </a:cubicBezTo>
                  <a:cubicBezTo>
                    <a:pt x="1312117" y="2244550"/>
                    <a:pt x="1310739" y="2246660"/>
                    <a:pt x="1309820" y="2248770"/>
                  </a:cubicBezTo>
                  <a:cubicBezTo>
                    <a:pt x="1303391" y="2250880"/>
                    <a:pt x="1296961" y="2253292"/>
                    <a:pt x="1290531" y="2255402"/>
                  </a:cubicBezTo>
                  <a:cubicBezTo>
                    <a:pt x="1289153" y="2258115"/>
                    <a:pt x="1287316" y="2260526"/>
                    <a:pt x="1285939" y="2263239"/>
                  </a:cubicBezTo>
                  <a:cubicBezTo>
                    <a:pt x="1283642" y="2264144"/>
                    <a:pt x="1281805" y="2265349"/>
                    <a:pt x="1279509" y="2266254"/>
                  </a:cubicBezTo>
                  <a:cubicBezTo>
                    <a:pt x="1278590" y="2271680"/>
                    <a:pt x="1277213" y="2276804"/>
                    <a:pt x="1276294" y="2282230"/>
                  </a:cubicBezTo>
                  <a:cubicBezTo>
                    <a:pt x="1273079" y="2285546"/>
                    <a:pt x="1269864" y="2288561"/>
                    <a:pt x="1266649" y="2291877"/>
                  </a:cubicBezTo>
                  <a:cubicBezTo>
                    <a:pt x="1265731" y="2296700"/>
                    <a:pt x="1264353" y="2301221"/>
                    <a:pt x="1263435" y="2306044"/>
                  </a:cubicBezTo>
                  <a:lnTo>
                    <a:pt x="1251035" y="2312375"/>
                  </a:lnTo>
                  <a:cubicBezTo>
                    <a:pt x="1248279" y="2322322"/>
                    <a:pt x="1245983" y="2332571"/>
                    <a:pt x="1243227" y="2342519"/>
                  </a:cubicBezTo>
                  <a:lnTo>
                    <a:pt x="1245983" y="2355180"/>
                  </a:lnTo>
                  <a:lnTo>
                    <a:pt x="1257464" y="2361811"/>
                  </a:lnTo>
                  <a:lnTo>
                    <a:pt x="1257464" y="2368142"/>
                  </a:lnTo>
                  <a:cubicBezTo>
                    <a:pt x="1255168" y="2371759"/>
                    <a:pt x="1253331" y="2375678"/>
                    <a:pt x="1251035" y="2379295"/>
                  </a:cubicBezTo>
                  <a:cubicBezTo>
                    <a:pt x="1251953" y="2381405"/>
                    <a:pt x="1253331" y="2383515"/>
                    <a:pt x="1254249" y="2385626"/>
                  </a:cubicBezTo>
                  <a:cubicBezTo>
                    <a:pt x="1253331" y="2389846"/>
                    <a:pt x="1251953" y="2394066"/>
                    <a:pt x="1251035" y="2398286"/>
                  </a:cubicBezTo>
                  <a:cubicBezTo>
                    <a:pt x="1254249" y="2403411"/>
                    <a:pt x="1257464" y="2408837"/>
                    <a:pt x="1260679" y="2413961"/>
                  </a:cubicBezTo>
                  <a:cubicBezTo>
                    <a:pt x="1263894" y="2420894"/>
                    <a:pt x="1266649" y="2427828"/>
                    <a:pt x="1269864" y="2434761"/>
                  </a:cubicBezTo>
                  <a:lnTo>
                    <a:pt x="1279509" y="2441091"/>
                  </a:lnTo>
                  <a:cubicBezTo>
                    <a:pt x="1280427" y="2444407"/>
                    <a:pt x="1281805" y="2447421"/>
                    <a:pt x="1282724" y="2450737"/>
                  </a:cubicBezTo>
                  <a:lnTo>
                    <a:pt x="1282724" y="2471236"/>
                  </a:lnTo>
                  <a:cubicBezTo>
                    <a:pt x="1283642" y="2476963"/>
                    <a:pt x="1285020" y="2482992"/>
                    <a:pt x="1285939" y="2488719"/>
                  </a:cubicBezTo>
                  <a:lnTo>
                    <a:pt x="1285939" y="2527003"/>
                  </a:lnTo>
                  <a:lnTo>
                    <a:pt x="1287316" y="2537855"/>
                  </a:lnTo>
                  <a:cubicBezTo>
                    <a:pt x="1285939" y="2543281"/>
                    <a:pt x="1284101" y="2548405"/>
                    <a:pt x="1282724" y="2553831"/>
                  </a:cubicBezTo>
                  <a:cubicBezTo>
                    <a:pt x="1280427" y="2558654"/>
                    <a:pt x="1278590" y="2563176"/>
                    <a:pt x="1276294" y="2567999"/>
                  </a:cubicBezTo>
                  <a:lnTo>
                    <a:pt x="1257464" y="2583975"/>
                  </a:lnTo>
                  <a:cubicBezTo>
                    <a:pt x="1251494" y="2586086"/>
                    <a:pt x="1245983" y="2588196"/>
                    <a:pt x="1240012" y="2590306"/>
                  </a:cubicBezTo>
                  <a:lnTo>
                    <a:pt x="1211079" y="2602966"/>
                  </a:lnTo>
                  <a:cubicBezTo>
                    <a:pt x="1204190" y="2610804"/>
                    <a:pt x="1197301" y="2618943"/>
                    <a:pt x="1190412" y="2626780"/>
                  </a:cubicBezTo>
                  <a:cubicBezTo>
                    <a:pt x="1187197" y="2627986"/>
                    <a:pt x="1184441" y="2628891"/>
                    <a:pt x="1181226" y="2630096"/>
                  </a:cubicBezTo>
                  <a:cubicBezTo>
                    <a:pt x="1176634" y="2634919"/>
                    <a:pt x="1171582" y="2639441"/>
                    <a:pt x="1166989" y="2644264"/>
                  </a:cubicBezTo>
                  <a:cubicBezTo>
                    <a:pt x="1162856" y="2646374"/>
                    <a:pt x="1158263" y="2648484"/>
                    <a:pt x="1154130" y="2650595"/>
                  </a:cubicBezTo>
                  <a:lnTo>
                    <a:pt x="1154130" y="2669887"/>
                  </a:lnTo>
                  <a:cubicBezTo>
                    <a:pt x="1158263" y="2675614"/>
                    <a:pt x="1162856" y="2681643"/>
                    <a:pt x="1166989" y="2687371"/>
                  </a:cubicBezTo>
                  <a:cubicBezTo>
                    <a:pt x="1167908" y="2691591"/>
                    <a:pt x="1169286" y="2695811"/>
                    <a:pt x="1170204" y="2700031"/>
                  </a:cubicBezTo>
                  <a:lnTo>
                    <a:pt x="1170204" y="2706362"/>
                  </a:lnTo>
                  <a:cubicBezTo>
                    <a:pt x="1171582" y="2705156"/>
                    <a:pt x="1173419" y="2704252"/>
                    <a:pt x="1174797" y="2703046"/>
                  </a:cubicBezTo>
                  <a:lnTo>
                    <a:pt x="1174797" y="2730176"/>
                  </a:lnTo>
                  <a:cubicBezTo>
                    <a:pt x="1173419" y="2733492"/>
                    <a:pt x="1171582" y="2736506"/>
                    <a:pt x="1170204" y="2739822"/>
                  </a:cubicBezTo>
                  <a:cubicBezTo>
                    <a:pt x="1171582" y="2741932"/>
                    <a:pt x="1173419" y="2744042"/>
                    <a:pt x="1174797" y="2746152"/>
                  </a:cubicBezTo>
                  <a:cubicBezTo>
                    <a:pt x="1174337" y="2748262"/>
                    <a:pt x="1173419" y="2750372"/>
                    <a:pt x="1172960" y="2752483"/>
                  </a:cubicBezTo>
                  <a:cubicBezTo>
                    <a:pt x="1169745" y="2755195"/>
                    <a:pt x="1166989" y="2757607"/>
                    <a:pt x="1163774" y="2760320"/>
                  </a:cubicBezTo>
                  <a:lnTo>
                    <a:pt x="1144485" y="2766650"/>
                  </a:lnTo>
                  <a:lnTo>
                    <a:pt x="1117389" y="2782627"/>
                  </a:lnTo>
                  <a:cubicBezTo>
                    <a:pt x="1114174" y="2785340"/>
                    <a:pt x="1111418" y="2787751"/>
                    <a:pt x="1108204" y="2790464"/>
                  </a:cubicBezTo>
                  <a:cubicBezTo>
                    <a:pt x="1109122" y="2793780"/>
                    <a:pt x="1110500" y="2796795"/>
                    <a:pt x="1111418" y="2800111"/>
                  </a:cubicBezTo>
                  <a:cubicBezTo>
                    <a:pt x="1112337" y="2801015"/>
                    <a:pt x="1113715" y="2802221"/>
                    <a:pt x="1114633" y="2803125"/>
                  </a:cubicBezTo>
                  <a:lnTo>
                    <a:pt x="1114633" y="2815786"/>
                  </a:lnTo>
                  <a:cubicBezTo>
                    <a:pt x="1112337" y="2820609"/>
                    <a:pt x="1110500" y="2825432"/>
                    <a:pt x="1108204" y="2830255"/>
                  </a:cubicBezTo>
                  <a:cubicBezTo>
                    <a:pt x="1107285" y="2837791"/>
                    <a:pt x="1105907" y="2845026"/>
                    <a:pt x="1104989" y="2852562"/>
                  </a:cubicBezTo>
                  <a:cubicBezTo>
                    <a:pt x="1102692" y="2856782"/>
                    <a:pt x="1100855" y="2861002"/>
                    <a:pt x="1098559" y="2865222"/>
                  </a:cubicBezTo>
                  <a:cubicBezTo>
                    <a:pt x="1093966" y="2867935"/>
                    <a:pt x="1088914" y="2870347"/>
                    <a:pt x="1084322" y="2873060"/>
                  </a:cubicBezTo>
                  <a:cubicBezTo>
                    <a:pt x="1083403" y="2874266"/>
                    <a:pt x="1082025" y="2875170"/>
                    <a:pt x="1081107" y="2876376"/>
                  </a:cubicBezTo>
                  <a:cubicBezTo>
                    <a:pt x="1076974" y="2881500"/>
                    <a:pt x="1072381" y="2886926"/>
                    <a:pt x="1068248" y="2892051"/>
                  </a:cubicBezTo>
                  <a:cubicBezTo>
                    <a:pt x="1067329" y="2896271"/>
                    <a:pt x="1065951" y="2900491"/>
                    <a:pt x="1065033" y="2904712"/>
                  </a:cubicBezTo>
                  <a:cubicBezTo>
                    <a:pt x="1060440" y="2909535"/>
                    <a:pt x="1055388" y="2914358"/>
                    <a:pt x="1050796" y="2919181"/>
                  </a:cubicBezTo>
                  <a:cubicBezTo>
                    <a:pt x="1042529" y="2928224"/>
                    <a:pt x="1033803" y="2936966"/>
                    <a:pt x="1025536" y="2946009"/>
                  </a:cubicBezTo>
                  <a:cubicBezTo>
                    <a:pt x="1020943" y="2950230"/>
                    <a:pt x="1015892" y="2954751"/>
                    <a:pt x="1011299" y="2958971"/>
                  </a:cubicBezTo>
                  <a:cubicBezTo>
                    <a:pt x="1005788" y="2964096"/>
                    <a:pt x="1000736" y="2969522"/>
                    <a:pt x="995225" y="2974647"/>
                  </a:cubicBezTo>
                  <a:cubicBezTo>
                    <a:pt x="987417" y="2976154"/>
                    <a:pt x="979150" y="2977962"/>
                    <a:pt x="971343" y="2979470"/>
                  </a:cubicBezTo>
                  <a:cubicBezTo>
                    <a:pt x="968128" y="2980675"/>
                    <a:pt x="965373" y="2981580"/>
                    <a:pt x="962158" y="2982785"/>
                  </a:cubicBezTo>
                  <a:cubicBezTo>
                    <a:pt x="961239" y="2984896"/>
                    <a:pt x="959861" y="2987006"/>
                    <a:pt x="958943" y="2989116"/>
                  </a:cubicBezTo>
                  <a:cubicBezTo>
                    <a:pt x="954350" y="2987910"/>
                    <a:pt x="949298" y="2987006"/>
                    <a:pt x="944706" y="2985800"/>
                  </a:cubicBezTo>
                  <a:cubicBezTo>
                    <a:pt x="940572" y="2987910"/>
                    <a:pt x="935980" y="2990020"/>
                    <a:pt x="931846" y="2992130"/>
                  </a:cubicBezTo>
                  <a:lnTo>
                    <a:pt x="907965" y="2985800"/>
                  </a:lnTo>
                  <a:cubicBezTo>
                    <a:pt x="903831" y="2987006"/>
                    <a:pt x="899698" y="2987910"/>
                    <a:pt x="895564" y="2989116"/>
                  </a:cubicBezTo>
                  <a:lnTo>
                    <a:pt x="885920" y="2989116"/>
                  </a:lnTo>
                  <a:lnTo>
                    <a:pt x="862038" y="2995446"/>
                  </a:lnTo>
                  <a:lnTo>
                    <a:pt x="842749" y="3001776"/>
                  </a:lnTo>
                  <a:cubicBezTo>
                    <a:pt x="839075" y="3004791"/>
                    <a:pt x="835401" y="3008107"/>
                    <a:pt x="831727" y="3011121"/>
                  </a:cubicBezTo>
                  <a:cubicBezTo>
                    <a:pt x="827593" y="3012327"/>
                    <a:pt x="823460" y="3013231"/>
                    <a:pt x="819327" y="3014437"/>
                  </a:cubicBezTo>
                  <a:cubicBezTo>
                    <a:pt x="817030" y="3010217"/>
                    <a:pt x="815193" y="3005997"/>
                    <a:pt x="812897" y="3001776"/>
                  </a:cubicBezTo>
                  <a:lnTo>
                    <a:pt x="803252" y="3001776"/>
                  </a:lnTo>
                  <a:cubicBezTo>
                    <a:pt x="800497" y="2998461"/>
                    <a:pt x="798201" y="2995446"/>
                    <a:pt x="795445" y="2992130"/>
                  </a:cubicBezTo>
                  <a:lnTo>
                    <a:pt x="795445" y="2995446"/>
                  </a:lnTo>
                  <a:cubicBezTo>
                    <a:pt x="794526" y="2993336"/>
                    <a:pt x="793149" y="2991226"/>
                    <a:pt x="792230" y="2989116"/>
                  </a:cubicBezTo>
                  <a:lnTo>
                    <a:pt x="792230" y="2974647"/>
                  </a:lnTo>
                  <a:cubicBezTo>
                    <a:pt x="789015" y="2969522"/>
                    <a:pt x="785800" y="2964096"/>
                    <a:pt x="782586" y="2958971"/>
                  </a:cubicBezTo>
                  <a:lnTo>
                    <a:pt x="792230" y="2952641"/>
                  </a:lnTo>
                  <a:lnTo>
                    <a:pt x="792230" y="2931842"/>
                  </a:lnTo>
                  <a:cubicBezTo>
                    <a:pt x="786719" y="2925511"/>
                    <a:pt x="781667" y="2919181"/>
                    <a:pt x="776156" y="2912851"/>
                  </a:cubicBezTo>
                  <a:lnTo>
                    <a:pt x="763756" y="2892051"/>
                  </a:lnTo>
                  <a:cubicBezTo>
                    <a:pt x="759163" y="2880898"/>
                    <a:pt x="754111" y="2870046"/>
                    <a:pt x="749519" y="2858892"/>
                  </a:cubicBezTo>
                  <a:cubicBezTo>
                    <a:pt x="744007" y="2852562"/>
                    <a:pt x="738956" y="2845930"/>
                    <a:pt x="733444" y="2839600"/>
                  </a:cubicBezTo>
                  <a:cubicBezTo>
                    <a:pt x="730230" y="2834777"/>
                    <a:pt x="727015" y="2830255"/>
                    <a:pt x="723800" y="2825432"/>
                  </a:cubicBezTo>
                  <a:lnTo>
                    <a:pt x="722422" y="2800111"/>
                  </a:lnTo>
                  <a:cubicBezTo>
                    <a:pt x="720126" y="2795288"/>
                    <a:pt x="718289" y="2790464"/>
                    <a:pt x="715992" y="2785641"/>
                  </a:cubicBezTo>
                  <a:cubicBezTo>
                    <a:pt x="712777" y="2773584"/>
                    <a:pt x="709563" y="2761224"/>
                    <a:pt x="706348" y="2749167"/>
                  </a:cubicBezTo>
                  <a:lnTo>
                    <a:pt x="706348" y="2717515"/>
                  </a:lnTo>
                  <a:cubicBezTo>
                    <a:pt x="705429" y="2713898"/>
                    <a:pt x="704051" y="2709979"/>
                    <a:pt x="703133" y="2706362"/>
                  </a:cubicBezTo>
                  <a:cubicBezTo>
                    <a:pt x="699000" y="2703046"/>
                    <a:pt x="694866" y="2700031"/>
                    <a:pt x="690733" y="2696715"/>
                  </a:cubicBezTo>
                  <a:lnTo>
                    <a:pt x="682466" y="2677724"/>
                  </a:lnTo>
                  <a:cubicBezTo>
                    <a:pt x="679251" y="2667777"/>
                    <a:pt x="676496" y="2657528"/>
                    <a:pt x="673281" y="2647580"/>
                  </a:cubicBezTo>
                  <a:cubicBezTo>
                    <a:pt x="670984" y="2643963"/>
                    <a:pt x="669147" y="2640044"/>
                    <a:pt x="666851" y="2636427"/>
                  </a:cubicBezTo>
                  <a:cubicBezTo>
                    <a:pt x="660421" y="2628891"/>
                    <a:pt x="653992" y="2621656"/>
                    <a:pt x="647562" y="2614120"/>
                  </a:cubicBezTo>
                  <a:lnTo>
                    <a:pt x="647562" y="2596636"/>
                  </a:lnTo>
                  <a:lnTo>
                    <a:pt x="646184" y="2583975"/>
                  </a:lnTo>
                  <a:cubicBezTo>
                    <a:pt x="646644" y="2577042"/>
                    <a:pt x="647103" y="2570411"/>
                    <a:pt x="647562" y="2563477"/>
                  </a:cubicBezTo>
                  <a:cubicBezTo>
                    <a:pt x="650777" y="2555037"/>
                    <a:pt x="653992" y="2546295"/>
                    <a:pt x="657207" y="2537855"/>
                  </a:cubicBezTo>
                  <a:lnTo>
                    <a:pt x="657207" y="2531524"/>
                  </a:lnTo>
                  <a:cubicBezTo>
                    <a:pt x="659503" y="2524591"/>
                    <a:pt x="661340" y="2517959"/>
                    <a:pt x="663636" y="2511026"/>
                  </a:cubicBezTo>
                  <a:cubicBezTo>
                    <a:pt x="665933" y="2508916"/>
                    <a:pt x="667770" y="2506806"/>
                    <a:pt x="670066" y="2504696"/>
                  </a:cubicBezTo>
                  <a:cubicBezTo>
                    <a:pt x="674199" y="2498968"/>
                    <a:pt x="678333" y="2492939"/>
                    <a:pt x="682466" y="2487212"/>
                  </a:cubicBezTo>
                  <a:cubicBezTo>
                    <a:pt x="684303" y="2483896"/>
                    <a:pt x="685681" y="2480882"/>
                    <a:pt x="687518" y="2477566"/>
                  </a:cubicBezTo>
                  <a:cubicBezTo>
                    <a:pt x="688437" y="2472140"/>
                    <a:pt x="689814" y="2467015"/>
                    <a:pt x="690733" y="2461589"/>
                  </a:cubicBezTo>
                  <a:lnTo>
                    <a:pt x="690733" y="2447421"/>
                  </a:lnTo>
                  <a:lnTo>
                    <a:pt x="682466" y="2441091"/>
                  </a:lnTo>
                  <a:cubicBezTo>
                    <a:pt x="681548" y="2435665"/>
                    <a:pt x="680170" y="2430541"/>
                    <a:pt x="679251" y="2425115"/>
                  </a:cubicBezTo>
                  <a:cubicBezTo>
                    <a:pt x="677414" y="2421497"/>
                    <a:pt x="675118" y="2417579"/>
                    <a:pt x="673281" y="2413961"/>
                  </a:cubicBezTo>
                  <a:cubicBezTo>
                    <a:pt x="674199" y="2411851"/>
                    <a:pt x="675577" y="2409741"/>
                    <a:pt x="676496" y="2407631"/>
                  </a:cubicBezTo>
                  <a:lnTo>
                    <a:pt x="679251" y="2401301"/>
                  </a:lnTo>
                  <a:lnTo>
                    <a:pt x="676496" y="2375979"/>
                  </a:lnTo>
                  <a:cubicBezTo>
                    <a:pt x="674199" y="2371156"/>
                    <a:pt x="672362" y="2366635"/>
                    <a:pt x="670066" y="2361811"/>
                  </a:cubicBezTo>
                  <a:cubicBezTo>
                    <a:pt x="665933" y="2357591"/>
                    <a:pt x="661340" y="2353070"/>
                    <a:pt x="657207" y="2348849"/>
                  </a:cubicBezTo>
                  <a:lnTo>
                    <a:pt x="657207" y="2342519"/>
                  </a:lnTo>
                  <a:lnTo>
                    <a:pt x="657207" y="2339505"/>
                  </a:lnTo>
                  <a:cubicBezTo>
                    <a:pt x="654910" y="2333777"/>
                    <a:pt x="653073" y="2327748"/>
                    <a:pt x="650777" y="2322021"/>
                  </a:cubicBezTo>
                  <a:cubicBezTo>
                    <a:pt x="644806" y="2314183"/>
                    <a:pt x="639295" y="2306044"/>
                    <a:pt x="633325" y="2298207"/>
                  </a:cubicBezTo>
                  <a:cubicBezTo>
                    <a:pt x="625977" y="2290671"/>
                    <a:pt x="618628" y="2283436"/>
                    <a:pt x="611280" y="2275900"/>
                  </a:cubicBezTo>
                  <a:cubicBezTo>
                    <a:pt x="605310" y="2268967"/>
                    <a:pt x="599799" y="2262335"/>
                    <a:pt x="593828" y="2255402"/>
                  </a:cubicBezTo>
                  <a:cubicBezTo>
                    <a:pt x="589695" y="2249072"/>
                    <a:pt x="585102" y="2242440"/>
                    <a:pt x="580969" y="2236109"/>
                  </a:cubicBezTo>
                  <a:lnTo>
                    <a:pt x="580969" y="2226765"/>
                  </a:lnTo>
                  <a:cubicBezTo>
                    <a:pt x="583265" y="2224052"/>
                    <a:pt x="585102" y="2221339"/>
                    <a:pt x="587398" y="2218626"/>
                  </a:cubicBezTo>
                  <a:cubicBezTo>
                    <a:pt x="588317" y="2213501"/>
                    <a:pt x="589695" y="2208075"/>
                    <a:pt x="590613" y="2202951"/>
                  </a:cubicBezTo>
                  <a:cubicBezTo>
                    <a:pt x="592910" y="2197525"/>
                    <a:pt x="594747" y="2192400"/>
                    <a:pt x="597043" y="2186974"/>
                  </a:cubicBezTo>
                  <a:cubicBezTo>
                    <a:pt x="594747" y="2186371"/>
                    <a:pt x="592910" y="2186070"/>
                    <a:pt x="590613" y="2185467"/>
                  </a:cubicBezTo>
                  <a:cubicBezTo>
                    <a:pt x="593828" y="2177026"/>
                    <a:pt x="597043" y="2168285"/>
                    <a:pt x="600258" y="2159844"/>
                  </a:cubicBezTo>
                  <a:cubicBezTo>
                    <a:pt x="601176" y="2154117"/>
                    <a:pt x="602554" y="2148088"/>
                    <a:pt x="603473" y="2142360"/>
                  </a:cubicBezTo>
                  <a:cubicBezTo>
                    <a:pt x="600258" y="2137236"/>
                    <a:pt x="597043" y="2131810"/>
                    <a:pt x="593828" y="2126685"/>
                  </a:cubicBezTo>
                  <a:cubicBezTo>
                    <a:pt x="590613" y="2125480"/>
                    <a:pt x="587398" y="2124575"/>
                    <a:pt x="584184" y="2123370"/>
                  </a:cubicBezTo>
                  <a:cubicBezTo>
                    <a:pt x="583265" y="2120355"/>
                    <a:pt x="581887" y="2117039"/>
                    <a:pt x="580969" y="2114025"/>
                  </a:cubicBezTo>
                  <a:cubicBezTo>
                    <a:pt x="578672" y="2113422"/>
                    <a:pt x="576835" y="2112819"/>
                    <a:pt x="574539" y="2112216"/>
                  </a:cubicBezTo>
                  <a:lnTo>
                    <a:pt x="574539" y="2105886"/>
                  </a:lnTo>
                  <a:lnTo>
                    <a:pt x="553872" y="2114025"/>
                  </a:lnTo>
                  <a:cubicBezTo>
                    <a:pt x="550657" y="2113422"/>
                    <a:pt x="547902" y="2112819"/>
                    <a:pt x="544687" y="2112216"/>
                  </a:cubicBezTo>
                  <a:lnTo>
                    <a:pt x="536420" y="2114025"/>
                  </a:lnTo>
                  <a:lnTo>
                    <a:pt x="517590" y="2114025"/>
                  </a:lnTo>
                  <a:cubicBezTo>
                    <a:pt x="514376" y="2110407"/>
                    <a:pt x="511161" y="2106489"/>
                    <a:pt x="507946" y="2102871"/>
                  </a:cubicBezTo>
                  <a:cubicBezTo>
                    <a:pt x="504731" y="2097445"/>
                    <a:pt x="501516" y="2092321"/>
                    <a:pt x="498301" y="2086895"/>
                  </a:cubicBezTo>
                  <a:cubicBezTo>
                    <a:pt x="493709" y="2082072"/>
                    <a:pt x="488657" y="2077550"/>
                    <a:pt x="484064" y="2072727"/>
                  </a:cubicBezTo>
                  <a:lnTo>
                    <a:pt x="465234" y="2072727"/>
                  </a:lnTo>
                  <a:lnTo>
                    <a:pt x="447782" y="2072727"/>
                  </a:lnTo>
                  <a:lnTo>
                    <a:pt x="425278" y="2072727"/>
                  </a:lnTo>
                  <a:cubicBezTo>
                    <a:pt x="420686" y="2074234"/>
                    <a:pt x="415634" y="2075741"/>
                    <a:pt x="411041" y="2077249"/>
                  </a:cubicBezTo>
                  <a:cubicBezTo>
                    <a:pt x="400019" y="2081469"/>
                    <a:pt x="388997" y="2085991"/>
                    <a:pt x="377974" y="2090211"/>
                  </a:cubicBezTo>
                  <a:cubicBezTo>
                    <a:pt x="372463" y="2093225"/>
                    <a:pt x="367411" y="2096541"/>
                    <a:pt x="361900" y="2099555"/>
                  </a:cubicBezTo>
                  <a:cubicBezTo>
                    <a:pt x="357307" y="2101666"/>
                    <a:pt x="352255" y="2103776"/>
                    <a:pt x="347663" y="2105886"/>
                  </a:cubicBezTo>
                  <a:lnTo>
                    <a:pt x="325618" y="2099555"/>
                  </a:lnTo>
                  <a:lnTo>
                    <a:pt x="312759" y="2099555"/>
                  </a:lnTo>
                  <a:lnTo>
                    <a:pt x="301736" y="2093225"/>
                  </a:lnTo>
                  <a:lnTo>
                    <a:pt x="285662" y="2093225"/>
                  </a:lnTo>
                  <a:lnTo>
                    <a:pt x="258566" y="2099555"/>
                  </a:lnTo>
                  <a:cubicBezTo>
                    <a:pt x="253514" y="2101666"/>
                    <a:pt x="248003" y="2103776"/>
                    <a:pt x="242951" y="2105886"/>
                  </a:cubicBezTo>
                  <a:lnTo>
                    <a:pt x="222284" y="2114025"/>
                  </a:lnTo>
                  <a:lnTo>
                    <a:pt x="219069" y="2114025"/>
                  </a:lnTo>
                  <a:lnTo>
                    <a:pt x="212639" y="2114025"/>
                  </a:lnTo>
                  <a:lnTo>
                    <a:pt x="188758" y="2102871"/>
                  </a:lnTo>
                  <a:cubicBezTo>
                    <a:pt x="181409" y="2097445"/>
                    <a:pt x="174061" y="2092321"/>
                    <a:pt x="166713" y="2086895"/>
                  </a:cubicBezTo>
                  <a:lnTo>
                    <a:pt x="149261" y="2072727"/>
                  </a:lnTo>
                  <a:cubicBezTo>
                    <a:pt x="145127" y="2068507"/>
                    <a:pt x="140535" y="2064287"/>
                    <a:pt x="136401" y="2060066"/>
                  </a:cubicBezTo>
                  <a:cubicBezTo>
                    <a:pt x="133187" y="2058861"/>
                    <a:pt x="130431" y="2057956"/>
                    <a:pt x="127216" y="2056751"/>
                  </a:cubicBezTo>
                  <a:lnTo>
                    <a:pt x="112520" y="2047104"/>
                  </a:lnTo>
                  <a:cubicBezTo>
                    <a:pt x="108386" y="2043487"/>
                    <a:pt x="104253" y="2039568"/>
                    <a:pt x="100120" y="2035951"/>
                  </a:cubicBezTo>
                  <a:lnTo>
                    <a:pt x="100120" y="2026606"/>
                  </a:lnTo>
                  <a:cubicBezTo>
                    <a:pt x="99201" y="2021180"/>
                    <a:pt x="97823" y="2016056"/>
                    <a:pt x="96905" y="2010630"/>
                  </a:cubicBezTo>
                  <a:cubicBezTo>
                    <a:pt x="93231" y="2007012"/>
                    <a:pt x="89557" y="2003094"/>
                    <a:pt x="85882" y="1999476"/>
                  </a:cubicBezTo>
                  <a:cubicBezTo>
                    <a:pt x="82668" y="1996462"/>
                    <a:pt x="79453" y="1993146"/>
                    <a:pt x="76238" y="1990131"/>
                  </a:cubicBezTo>
                  <a:cubicBezTo>
                    <a:pt x="75319" y="1988926"/>
                    <a:pt x="73942" y="1988021"/>
                    <a:pt x="73023" y="1986816"/>
                  </a:cubicBezTo>
                  <a:cubicBezTo>
                    <a:pt x="70727" y="1985911"/>
                    <a:pt x="68890" y="1984705"/>
                    <a:pt x="66593" y="1983801"/>
                  </a:cubicBezTo>
                  <a:cubicBezTo>
                    <a:pt x="65675" y="1980485"/>
                    <a:pt x="64297" y="1977471"/>
                    <a:pt x="63379" y="1974155"/>
                  </a:cubicBezTo>
                  <a:cubicBezTo>
                    <a:pt x="62460" y="1972045"/>
                    <a:pt x="61082" y="1969935"/>
                    <a:pt x="60164" y="1967825"/>
                  </a:cubicBezTo>
                  <a:cubicBezTo>
                    <a:pt x="58327" y="1966619"/>
                    <a:pt x="56030" y="1965715"/>
                    <a:pt x="54193" y="1964509"/>
                  </a:cubicBezTo>
                  <a:cubicBezTo>
                    <a:pt x="50519" y="1961796"/>
                    <a:pt x="46386" y="1959384"/>
                    <a:pt x="42712" y="1956671"/>
                  </a:cubicBezTo>
                  <a:cubicBezTo>
                    <a:pt x="39497" y="1955767"/>
                    <a:pt x="36741" y="1954561"/>
                    <a:pt x="33526" y="1953657"/>
                  </a:cubicBezTo>
                  <a:cubicBezTo>
                    <a:pt x="31230" y="1952451"/>
                    <a:pt x="29393" y="1951547"/>
                    <a:pt x="27097" y="1950341"/>
                  </a:cubicBezTo>
                  <a:lnTo>
                    <a:pt x="27097" y="1947025"/>
                  </a:lnTo>
                  <a:cubicBezTo>
                    <a:pt x="24800" y="1944915"/>
                    <a:pt x="22963" y="1942805"/>
                    <a:pt x="20667" y="1940695"/>
                  </a:cubicBezTo>
                  <a:cubicBezTo>
                    <a:pt x="19748" y="1938585"/>
                    <a:pt x="18371" y="1936474"/>
                    <a:pt x="17452" y="1934364"/>
                  </a:cubicBezTo>
                  <a:cubicBezTo>
                    <a:pt x="16534" y="1928637"/>
                    <a:pt x="15156" y="1922608"/>
                    <a:pt x="14237" y="1916881"/>
                  </a:cubicBezTo>
                  <a:cubicBezTo>
                    <a:pt x="15156" y="1913866"/>
                    <a:pt x="16534" y="1910550"/>
                    <a:pt x="17452" y="1907536"/>
                  </a:cubicBezTo>
                  <a:cubicBezTo>
                    <a:pt x="14697" y="1901206"/>
                    <a:pt x="12400" y="1894574"/>
                    <a:pt x="9645" y="1888243"/>
                  </a:cubicBezTo>
                  <a:lnTo>
                    <a:pt x="0" y="1883722"/>
                  </a:lnTo>
                  <a:lnTo>
                    <a:pt x="9645" y="1877392"/>
                  </a:lnTo>
                  <a:cubicBezTo>
                    <a:pt x="12400" y="1871966"/>
                    <a:pt x="14697" y="1866841"/>
                    <a:pt x="17452" y="1861415"/>
                  </a:cubicBezTo>
                  <a:cubicBezTo>
                    <a:pt x="19748" y="1857195"/>
                    <a:pt x="21586" y="1852975"/>
                    <a:pt x="23882" y="1848754"/>
                  </a:cubicBezTo>
                  <a:cubicBezTo>
                    <a:pt x="22963" y="1845137"/>
                    <a:pt x="21586" y="1841218"/>
                    <a:pt x="20667" y="1837601"/>
                  </a:cubicBezTo>
                  <a:cubicBezTo>
                    <a:pt x="22963" y="1833381"/>
                    <a:pt x="24800" y="1829161"/>
                    <a:pt x="27097" y="1824940"/>
                  </a:cubicBezTo>
                  <a:cubicBezTo>
                    <a:pt x="29393" y="1818007"/>
                    <a:pt x="31230" y="1811074"/>
                    <a:pt x="33526" y="1804141"/>
                  </a:cubicBezTo>
                  <a:cubicBezTo>
                    <a:pt x="32608" y="1797810"/>
                    <a:pt x="31230" y="1791480"/>
                    <a:pt x="30312" y="1785150"/>
                  </a:cubicBezTo>
                  <a:cubicBezTo>
                    <a:pt x="29393" y="1780327"/>
                    <a:pt x="28015" y="1775805"/>
                    <a:pt x="27097" y="1770982"/>
                  </a:cubicBezTo>
                  <a:lnTo>
                    <a:pt x="27097" y="1758020"/>
                  </a:lnTo>
                  <a:cubicBezTo>
                    <a:pt x="24800" y="1755005"/>
                    <a:pt x="22963" y="1751689"/>
                    <a:pt x="20667" y="1748675"/>
                  </a:cubicBezTo>
                  <a:cubicBezTo>
                    <a:pt x="17452" y="1745359"/>
                    <a:pt x="14237" y="1742345"/>
                    <a:pt x="11022" y="1739029"/>
                  </a:cubicBezTo>
                  <a:lnTo>
                    <a:pt x="11022" y="1727875"/>
                  </a:lnTo>
                  <a:cubicBezTo>
                    <a:pt x="11941" y="1724861"/>
                    <a:pt x="13319" y="1721545"/>
                    <a:pt x="14237" y="1718531"/>
                  </a:cubicBezTo>
                  <a:cubicBezTo>
                    <a:pt x="16534" y="1716421"/>
                    <a:pt x="18371" y="1714310"/>
                    <a:pt x="20667" y="1712200"/>
                  </a:cubicBezTo>
                  <a:lnTo>
                    <a:pt x="30312" y="1699540"/>
                  </a:lnTo>
                  <a:cubicBezTo>
                    <a:pt x="29393" y="1698033"/>
                    <a:pt x="28015" y="1696224"/>
                    <a:pt x="27097" y="1694717"/>
                  </a:cubicBezTo>
                  <a:cubicBezTo>
                    <a:pt x="29393" y="1688386"/>
                    <a:pt x="31230" y="1681755"/>
                    <a:pt x="33526" y="1675424"/>
                  </a:cubicBezTo>
                  <a:cubicBezTo>
                    <a:pt x="37660" y="1670300"/>
                    <a:pt x="41793" y="1664874"/>
                    <a:pt x="45926" y="1659749"/>
                  </a:cubicBezTo>
                  <a:cubicBezTo>
                    <a:pt x="48682" y="1659146"/>
                    <a:pt x="51438" y="1658845"/>
                    <a:pt x="54193" y="1658242"/>
                  </a:cubicBezTo>
                  <a:cubicBezTo>
                    <a:pt x="56030" y="1652816"/>
                    <a:pt x="58327" y="1647691"/>
                    <a:pt x="60164" y="1642265"/>
                  </a:cubicBezTo>
                  <a:lnTo>
                    <a:pt x="60164" y="1629605"/>
                  </a:lnTo>
                  <a:cubicBezTo>
                    <a:pt x="63379" y="1625987"/>
                    <a:pt x="66593" y="1622069"/>
                    <a:pt x="69808" y="1618451"/>
                  </a:cubicBezTo>
                  <a:cubicBezTo>
                    <a:pt x="73942" y="1615136"/>
                    <a:pt x="78534" y="1612121"/>
                    <a:pt x="82668" y="1608805"/>
                  </a:cubicBezTo>
                  <a:cubicBezTo>
                    <a:pt x="88638" y="1600365"/>
                    <a:pt x="94149" y="1591924"/>
                    <a:pt x="100120" y="1583484"/>
                  </a:cubicBezTo>
                  <a:lnTo>
                    <a:pt x="100120" y="1581977"/>
                  </a:lnTo>
                  <a:lnTo>
                    <a:pt x="109764" y="1575646"/>
                  </a:lnTo>
                  <a:cubicBezTo>
                    <a:pt x="116653" y="1574441"/>
                    <a:pt x="123083" y="1573536"/>
                    <a:pt x="129972" y="1572331"/>
                  </a:cubicBezTo>
                  <a:cubicBezTo>
                    <a:pt x="135483" y="1566905"/>
                    <a:pt x="140535" y="1561780"/>
                    <a:pt x="146046" y="1556354"/>
                  </a:cubicBezTo>
                  <a:lnTo>
                    <a:pt x="158905" y="1547009"/>
                  </a:lnTo>
                  <a:cubicBezTo>
                    <a:pt x="164876" y="1541282"/>
                    <a:pt x="170387" y="1535253"/>
                    <a:pt x="176357" y="1529525"/>
                  </a:cubicBezTo>
                  <a:cubicBezTo>
                    <a:pt x="174061" y="1518372"/>
                    <a:pt x="172224" y="1507219"/>
                    <a:pt x="169928" y="1496065"/>
                  </a:cubicBezTo>
                  <a:cubicBezTo>
                    <a:pt x="173143" y="1488529"/>
                    <a:pt x="176357" y="1481295"/>
                    <a:pt x="179572" y="1473758"/>
                  </a:cubicBezTo>
                  <a:lnTo>
                    <a:pt x="179572" y="1465921"/>
                  </a:lnTo>
                  <a:cubicBezTo>
                    <a:pt x="186002" y="1459591"/>
                    <a:pt x="191972" y="1453260"/>
                    <a:pt x="198402" y="1446930"/>
                  </a:cubicBezTo>
                  <a:lnTo>
                    <a:pt x="219069" y="1434269"/>
                  </a:lnTo>
                  <a:cubicBezTo>
                    <a:pt x="224580" y="1431556"/>
                    <a:pt x="229632" y="1428843"/>
                    <a:pt x="235143" y="1426130"/>
                  </a:cubicBezTo>
                  <a:cubicBezTo>
                    <a:pt x="239736" y="1416484"/>
                    <a:pt x="244788" y="1407139"/>
                    <a:pt x="249380" y="1397493"/>
                  </a:cubicBezTo>
                  <a:cubicBezTo>
                    <a:pt x="252595" y="1393876"/>
                    <a:pt x="255351" y="1390259"/>
                    <a:pt x="258566" y="1386641"/>
                  </a:cubicBezTo>
                  <a:lnTo>
                    <a:pt x="273262" y="1386641"/>
                  </a:lnTo>
                  <a:cubicBezTo>
                    <a:pt x="277396" y="1389656"/>
                    <a:pt x="281529" y="1392972"/>
                    <a:pt x="285662" y="1395986"/>
                  </a:cubicBezTo>
                  <a:lnTo>
                    <a:pt x="308166" y="1395986"/>
                  </a:lnTo>
                  <a:cubicBezTo>
                    <a:pt x="315055" y="1396589"/>
                    <a:pt x="321944" y="1396890"/>
                    <a:pt x="328833" y="1397493"/>
                  </a:cubicBezTo>
                  <a:lnTo>
                    <a:pt x="341233" y="1397493"/>
                  </a:lnTo>
                  <a:lnTo>
                    <a:pt x="361900" y="1386641"/>
                  </a:lnTo>
                  <a:lnTo>
                    <a:pt x="385782" y="1380311"/>
                  </a:lnTo>
                  <a:cubicBezTo>
                    <a:pt x="389915" y="1376995"/>
                    <a:pt x="394508" y="1373981"/>
                    <a:pt x="398641" y="1370665"/>
                  </a:cubicBezTo>
                  <a:lnTo>
                    <a:pt x="420686" y="1364334"/>
                  </a:lnTo>
                  <a:lnTo>
                    <a:pt x="457427" y="1358004"/>
                  </a:lnTo>
                  <a:lnTo>
                    <a:pt x="493709" y="1356195"/>
                  </a:lnTo>
                  <a:cubicBezTo>
                    <a:pt x="497383" y="1357703"/>
                    <a:pt x="501057" y="1359511"/>
                    <a:pt x="504731" y="1361018"/>
                  </a:cubicBezTo>
                  <a:lnTo>
                    <a:pt x="527235" y="1349865"/>
                  </a:lnTo>
                  <a:lnTo>
                    <a:pt x="550657" y="1349865"/>
                  </a:lnTo>
                  <a:cubicBezTo>
                    <a:pt x="552954" y="1351975"/>
                    <a:pt x="554791" y="1354085"/>
                    <a:pt x="557087" y="1356195"/>
                  </a:cubicBezTo>
                  <a:cubicBezTo>
                    <a:pt x="562598" y="1355291"/>
                    <a:pt x="567650" y="1354085"/>
                    <a:pt x="573161" y="1353181"/>
                  </a:cubicBezTo>
                  <a:cubicBezTo>
                    <a:pt x="580969" y="1349865"/>
                    <a:pt x="589236" y="1346851"/>
                    <a:pt x="597043" y="1343535"/>
                  </a:cubicBezTo>
                  <a:cubicBezTo>
                    <a:pt x="603013" y="1345645"/>
                    <a:pt x="608525" y="1347755"/>
                    <a:pt x="614495" y="1349865"/>
                  </a:cubicBezTo>
                  <a:lnTo>
                    <a:pt x="614495" y="1358004"/>
                  </a:lnTo>
                  <a:cubicBezTo>
                    <a:pt x="620925" y="1355291"/>
                    <a:pt x="626895" y="1352578"/>
                    <a:pt x="633325" y="1349865"/>
                  </a:cubicBezTo>
                  <a:lnTo>
                    <a:pt x="633325" y="1356195"/>
                  </a:lnTo>
                  <a:lnTo>
                    <a:pt x="620925" y="1364334"/>
                  </a:lnTo>
                  <a:lnTo>
                    <a:pt x="620925" y="1380311"/>
                  </a:lnTo>
                  <a:cubicBezTo>
                    <a:pt x="624140" y="1382421"/>
                    <a:pt x="626895" y="1384531"/>
                    <a:pt x="630110" y="1386641"/>
                  </a:cubicBezTo>
                  <a:cubicBezTo>
                    <a:pt x="629191" y="1393574"/>
                    <a:pt x="627814" y="1400206"/>
                    <a:pt x="626895" y="1407139"/>
                  </a:cubicBezTo>
                  <a:cubicBezTo>
                    <a:pt x="621843" y="1411360"/>
                    <a:pt x="616332" y="1415580"/>
                    <a:pt x="611280" y="1419800"/>
                  </a:cubicBezTo>
                  <a:cubicBezTo>
                    <a:pt x="613577" y="1424020"/>
                    <a:pt x="615414" y="1428240"/>
                    <a:pt x="617710" y="1432461"/>
                  </a:cubicBezTo>
                  <a:lnTo>
                    <a:pt x="626895" y="1432461"/>
                  </a:lnTo>
                  <a:cubicBezTo>
                    <a:pt x="629191" y="1437284"/>
                    <a:pt x="631029" y="1442107"/>
                    <a:pt x="633325" y="1446930"/>
                  </a:cubicBezTo>
                  <a:cubicBezTo>
                    <a:pt x="636540" y="1447834"/>
                    <a:pt x="639755" y="1449040"/>
                    <a:pt x="642969" y="1449944"/>
                  </a:cubicBezTo>
                  <a:lnTo>
                    <a:pt x="666851" y="1456275"/>
                  </a:lnTo>
                  <a:lnTo>
                    <a:pt x="679251" y="1456275"/>
                  </a:lnTo>
                  <a:cubicBezTo>
                    <a:pt x="684303" y="1457480"/>
                    <a:pt x="688896" y="1458385"/>
                    <a:pt x="693948" y="1459591"/>
                  </a:cubicBezTo>
                  <a:cubicBezTo>
                    <a:pt x="704051" y="1463208"/>
                    <a:pt x="713696" y="1467127"/>
                    <a:pt x="723800" y="1470744"/>
                  </a:cubicBezTo>
                  <a:cubicBezTo>
                    <a:pt x="727933" y="1478280"/>
                    <a:pt x="732526" y="1485515"/>
                    <a:pt x="736659" y="1493051"/>
                  </a:cubicBezTo>
                  <a:cubicBezTo>
                    <a:pt x="743089" y="1493955"/>
                    <a:pt x="749059" y="1495161"/>
                    <a:pt x="755489" y="1496065"/>
                  </a:cubicBezTo>
                  <a:lnTo>
                    <a:pt x="785800" y="1508726"/>
                  </a:lnTo>
                  <a:lnTo>
                    <a:pt x="809682" y="1519879"/>
                  </a:lnTo>
                  <a:lnTo>
                    <a:pt x="819327" y="1513549"/>
                  </a:lnTo>
                  <a:cubicBezTo>
                    <a:pt x="823460" y="1509932"/>
                    <a:pt x="827593" y="1506013"/>
                    <a:pt x="831727" y="1502396"/>
                  </a:cubicBezTo>
                  <a:cubicBezTo>
                    <a:pt x="829430" y="1496065"/>
                    <a:pt x="827593" y="1489735"/>
                    <a:pt x="825297" y="1483405"/>
                  </a:cubicBezTo>
                  <a:lnTo>
                    <a:pt x="834942" y="1470744"/>
                  </a:lnTo>
                  <a:lnTo>
                    <a:pt x="849179" y="1459591"/>
                  </a:lnTo>
                  <a:cubicBezTo>
                    <a:pt x="853312" y="1458385"/>
                    <a:pt x="857905" y="1457480"/>
                    <a:pt x="862038" y="1456275"/>
                  </a:cubicBezTo>
                  <a:lnTo>
                    <a:pt x="895564" y="1462605"/>
                  </a:lnTo>
                  <a:cubicBezTo>
                    <a:pt x="897401" y="1465318"/>
                    <a:pt x="899698" y="1468031"/>
                    <a:pt x="901535" y="1470744"/>
                  </a:cubicBezTo>
                  <a:lnTo>
                    <a:pt x="907965" y="1470744"/>
                  </a:lnTo>
                  <a:cubicBezTo>
                    <a:pt x="910720" y="1472854"/>
                    <a:pt x="913016" y="1474964"/>
                    <a:pt x="915772" y="1477074"/>
                  </a:cubicBezTo>
                  <a:cubicBezTo>
                    <a:pt x="923120" y="1477979"/>
                    <a:pt x="930928" y="1479184"/>
                    <a:pt x="938276" y="1480089"/>
                  </a:cubicBezTo>
                  <a:cubicBezTo>
                    <a:pt x="940572" y="1483405"/>
                    <a:pt x="942409" y="1486419"/>
                    <a:pt x="944706" y="1489735"/>
                  </a:cubicBezTo>
                  <a:lnTo>
                    <a:pt x="971343" y="1489735"/>
                  </a:lnTo>
                  <a:cubicBezTo>
                    <a:pt x="978232" y="1490941"/>
                    <a:pt x="985121" y="1491845"/>
                    <a:pt x="992010" y="1493051"/>
                  </a:cubicBezTo>
                  <a:cubicBezTo>
                    <a:pt x="1000736" y="1496065"/>
                    <a:pt x="1009003" y="1499381"/>
                    <a:pt x="1017729" y="1502396"/>
                  </a:cubicBezTo>
                  <a:cubicBezTo>
                    <a:pt x="1020484" y="1503601"/>
                    <a:pt x="1022780" y="1504506"/>
                    <a:pt x="1025536" y="1505711"/>
                  </a:cubicBezTo>
                  <a:lnTo>
                    <a:pt x="1044366" y="1496065"/>
                  </a:lnTo>
                  <a:cubicBezTo>
                    <a:pt x="1046662" y="1495161"/>
                    <a:pt x="1048499" y="1493955"/>
                    <a:pt x="1050796" y="1493051"/>
                  </a:cubicBezTo>
                  <a:cubicBezTo>
                    <a:pt x="1057684" y="1491845"/>
                    <a:pt x="1064573" y="1490941"/>
                    <a:pt x="1071462" y="1489735"/>
                  </a:cubicBezTo>
                  <a:cubicBezTo>
                    <a:pt x="1076974" y="1490941"/>
                    <a:pt x="1082025" y="1491845"/>
                    <a:pt x="1087537" y="1493051"/>
                  </a:cubicBezTo>
                  <a:cubicBezTo>
                    <a:pt x="1089833" y="1497271"/>
                    <a:pt x="1091670" y="1501491"/>
                    <a:pt x="1093966" y="1505711"/>
                  </a:cubicBezTo>
                  <a:cubicBezTo>
                    <a:pt x="1095344" y="1502396"/>
                    <a:pt x="1097181" y="1499381"/>
                    <a:pt x="1098559" y="1496065"/>
                  </a:cubicBezTo>
                  <a:cubicBezTo>
                    <a:pt x="1104989" y="1498175"/>
                    <a:pt x="1110959" y="1500285"/>
                    <a:pt x="1117389" y="1502396"/>
                  </a:cubicBezTo>
                  <a:lnTo>
                    <a:pt x="1133463" y="1502396"/>
                  </a:lnTo>
                  <a:lnTo>
                    <a:pt x="1144485" y="1496065"/>
                  </a:lnTo>
                  <a:cubicBezTo>
                    <a:pt x="1146782" y="1493955"/>
                    <a:pt x="1148619" y="1491845"/>
                    <a:pt x="1150915" y="1489735"/>
                  </a:cubicBezTo>
                  <a:cubicBezTo>
                    <a:pt x="1149996" y="1488831"/>
                    <a:pt x="1148619" y="1487625"/>
                    <a:pt x="1147700" y="1486720"/>
                  </a:cubicBezTo>
                  <a:cubicBezTo>
                    <a:pt x="1149996" y="1482500"/>
                    <a:pt x="1151834" y="1477979"/>
                    <a:pt x="1154130" y="1473758"/>
                  </a:cubicBezTo>
                  <a:cubicBezTo>
                    <a:pt x="1156426" y="1468031"/>
                    <a:pt x="1158263" y="1462002"/>
                    <a:pt x="1160560" y="1456275"/>
                  </a:cubicBezTo>
                  <a:cubicBezTo>
                    <a:pt x="1161478" y="1455370"/>
                    <a:pt x="1162856" y="1454165"/>
                    <a:pt x="1163774" y="1453260"/>
                  </a:cubicBezTo>
                  <a:cubicBezTo>
                    <a:pt x="1166989" y="1445423"/>
                    <a:pt x="1169745" y="1437284"/>
                    <a:pt x="1172960" y="1429446"/>
                  </a:cubicBezTo>
                  <a:cubicBezTo>
                    <a:pt x="1175715" y="1424020"/>
                    <a:pt x="1178471" y="1418896"/>
                    <a:pt x="1181226" y="1413470"/>
                  </a:cubicBezTo>
                  <a:cubicBezTo>
                    <a:pt x="1182145" y="1412565"/>
                    <a:pt x="1183523" y="1411360"/>
                    <a:pt x="1184441" y="1410455"/>
                  </a:cubicBezTo>
                  <a:cubicBezTo>
                    <a:pt x="1183523" y="1405632"/>
                    <a:pt x="1182145" y="1400809"/>
                    <a:pt x="1181226" y="1395986"/>
                  </a:cubicBezTo>
                  <a:cubicBezTo>
                    <a:pt x="1183523" y="1391766"/>
                    <a:pt x="1185360" y="1387546"/>
                    <a:pt x="1187656" y="1383325"/>
                  </a:cubicBezTo>
                  <a:lnTo>
                    <a:pt x="1178012" y="1370665"/>
                  </a:lnTo>
                  <a:cubicBezTo>
                    <a:pt x="1181226" y="1367349"/>
                    <a:pt x="1184441" y="1364334"/>
                    <a:pt x="1187656" y="1361018"/>
                  </a:cubicBezTo>
                  <a:cubicBezTo>
                    <a:pt x="1183523" y="1362224"/>
                    <a:pt x="1178930" y="1363129"/>
                    <a:pt x="1174797" y="1364334"/>
                  </a:cubicBezTo>
                  <a:lnTo>
                    <a:pt x="1154130" y="1358004"/>
                  </a:lnTo>
                  <a:cubicBezTo>
                    <a:pt x="1148619" y="1362224"/>
                    <a:pt x="1143567" y="1366444"/>
                    <a:pt x="1138056" y="1370665"/>
                  </a:cubicBezTo>
                  <a:cubicBezTo>
                    <a:pt x="1127952" y="1371569"/>
                    <a:pt x="1118307" y="1372775"/>
                    <a:pt x="1108204" y="1373679"/>
                  </a:cubicBezTo>
                  <a:lnTo>
                    <a:pt x="1087537" y="1361018"/>
                  </a:lnTo>
                  <a:lnTo>
                    <a:pt x="1065033" y="1361018"/>
                  </a:lnTo>
                  <a:cubicBezTo>
                    <a:pt x="1063655" y="1364334"/>
                    <a:pt x="1061818" y="1367349"/>
                    <a:pt x="1060440" y="1370665"/>
                  </a:cubicBezTo>
                  <a:cubicBezTo>
                    <a:pt x="1054929" y="1371569"/>
                    <a:pt x="1049877" y="1372775"/>
                    <a:pt x="1044366" y="1373679"/>
                  </a:cubicBezTo>
                  <a:cubicBezTo>
                    <a:pt x="1037477" y="1369459"/>
                    <a:pt x="1031047" y="1365239"/>
                    <a:pt x="1024158" y="1361018"/>
                  </a:cubicBezTo>
                  <a:lnTo>
                    <a:pt x="998440" y="1361018"/>
                  </a:lnTo>
                  <a:cubicBezTo>
                    <a:pt x="993847" y="1353181"/>
                    <a:pt x="988795" y="1345042"/>
                    <a:pt x="984202" y="1337204"/>
                  </a:cubicBezTo>
                  <a:cubicBezTo>
                    <a:pt x="979150" y="1332080"/>
                    <a:pt x="973639" y="1326654"/>
                    <a:pt x="968587" y="1321529"/>
                  </a:cubicBezTo>
                  <a:cubicBezTo>
                    <a:pt x="972721" y="1315802"/>
                    <a:pt x="976854" y="1309773"/>
                    <a:pt x="980987" y="1304046"/>
                  </a:cubicBezTo>
                  <a:lnTo>
                    <a:pt x="965373" y="1291084"/>
                  </a:lnTo>
                  <a:cubicBezTo>
                    <a:pt x="973180" y="1282040"/>
                    <a:pt x="980987" y="1273298"/>
                    <a:pt x="988795" y="1264255"/>
                  </a:cubicBezTo>
                  <a:lnTo>
                    <a:pt x="1024158" y="1264255"/>
                  </a:lnTo>
                  <a:cubicBezTo>
                    <a:pt x="1026914" y="1257925"/>
                    <a:pt x="1029210" y="1251594"/>
                    <a:pt x="1031966" y="1245264"/>
                  </a:cubicBezTo>
                  <a:lnTo>
                    <a:pt x="1074677" y="1245264"/>
                  </a:lnTo>
                  <a:cubicBezTo>
                    <a:pt x="1083863" y="1240441"/>
                    <a:pt x="1092589" y="1235618"/>
                    <a:pt x="1101774" y="1230795"/>
                  </a:cubicBezTo>
                  <a:lnTo>
                    <a:pt x="1130248" y="1224464"/>
                  </a:lnTo>
                  <a:lnTo>
                    <a:pt x="1166989" y="1224464"/>
                  </a:lnTo>
                  <a:cubicBezTo>
                    <a:pt x="1178930" y="1230795"/>
                    <a:pt x="1191330" y="1237125"/>
                    <a:pt x="1203271" y="1243455"/>
                  </a:cubicBezTo>
                  <a:cubicBezTo>
                    <a:pt x="1213375" y="1244963"/>
                    <a:pt x="1223479" y="1246771"/>
                    <a:pt x="1233582" y="1248279"/>
                  </a:cubicBezTo>
                  <a:cubicBezTo>
                    <a:pt x="1242768" y="1247374"/>
                    <a:pt x="1251494" y="1246168"/>
                    <a:pt x="1260679" y="1245264"/>
                  </a:cubicBezTo>
                  <a:cubicBezTo>
                    <a:pt x="1267109" y="1246168"/>
                    <a:pt x="1273079" y="1247374"/>
                    <a:pt x="1279509" y="1248279"/>
                  </a:cubicBezTo>
                  <a:cubicBezTo>
                    <a:pt x="1289613" y="1244661"/>
                    <a:pt x="1299716" y="1240742"/>
                    <a:pt x="1309820" y="1237125"/>
                  </a:cubicBezTo>
                  <a:cubicBezTo>
                    <a:pt x="1310739" y="1232905"/>
                    <a:pt x="1312117" y="1228685"/>
                    <a:pt x="1313035" y="1224464"/>
                  </a:cubicBezTo>
                  <a:cubicBezTo>
                    <a:pt x="1310739" y="1217531"/>
                    <a:pt x="1308902" y="1210900"/>
                    <a:pt x="1306605" y="1203966"/>
                  </a:cubicBezTo>
                  <a:cubicBezTo>
                    <a:pt x="1301094" y="1201856"/>
                    <a:pt x="1296042" y="1199746"/>
                    <a:pt x="1290531" y="1197636"/>
                  </a:cubicBezTo>
                  <a:cubicBezTo>
                    <a:pt x="1286857" y="1196430"/>
                    <a:pt x="1283183" y="1195526"/>
                    <a:pt x="1279509" y="1194320"/>
                  </a:cubicBezTo>
                  <a:cubicBezTo>
                    <a:pt x="1277213" y="1191004"/>
                    <a:pt x="1275375" y="1187990"/>
                    <a:pt x="1273079" y="1184674"/>
                  </a:cubicBezTo>
                  <a:lnTo>
                    <a:pt x="1243227" y="1164176"/>
                  </a:lnTo>
                  <a:lnTo>
                    <a:pt x="1214293" y="1151515"/>
                  </a:lnTo>
                  <a:cubicBezTo>
                    <a:pt x="1208323" y="1146089"/>
                    <a:pt x="1202812" y="1140965"/>
                    <a:pt x="1196841" y="1135539"/>
                  </a:cubicBezTo>
                  <a:cubicBezTo>
                    <a:pt x="1201434" y="1134031"/>
                    <a:pt x="1206486" y="1132223"/>
                    <a:pt x="1211079" y="1130715"/>
                  </a:cubicBezTo>
                  <a:cubicBezTo>
                    <a:pt x="1218427" y="1123481"/>
                    <a:pt x="1226234" y="1115945"/>
                    <a:pt x="1233582" y="1108710"/>
                  </a:cubicBezTo>
                  <a:cubicBezTo>
                    <a:pt x="1229449" y="1105394"/>
                    <a:pt x="1224856" y="1102380"/>
                    <a:pt x="1220723" y="1099064"/>
                  </a:cubicBezTo>
                  <a:cubicBezTo>
                    <a:pt x="1230827" y="1094241"/>
                    <a:pt x="1240931" y="1089719"/>
                    <a:pt x="1251035" y="1084896"/>
                  </a:cubicBezTo>
                  <a:lnTo>
                    <a:pt x="1251035" y="1081580"/>
                  </a:lnTo>
                  <a:cubicBezTo>
                    <a:pt x="1245064" y="1082786"/>
                    <a:pt x="1239553" y="1083690"/>
                    <a:pt x="1233582" y="1084896"/>
                  </a:cubicBezTo>
                  <a:cubicBezTo>
                    <a:pt x="1226234" y="1085800"/>
                    <a:pt x="1218427" y="1087006"/>
                    <a:pt x="1211079" y="1087910"/>
                  </a:cubicBezTo>
                  <a:cubicBezTo>
                    <a:pt x="1207404" y="1090623"/>
                    <a:pt x="1203730" y="1093035"/>
                    <a:pt x="1200056" y="1095748"/>
                  </a:cubicBezTo>
                  <a:lnTo>
                    <a:pt x="1178012" y="1095748"/>
                  </a:lnTo>
                  <a:lnTo>
                    <a:pt x="1160560" y="1105394"/>
                  </a:lnTo>
                  <a:lnTo>
                    <a:pt x="1160560" y="1127701"/>
                  </a:lnTo>
                  <a:cubicBezTo>
                    <a:pt x="1165152" y="1128605"/>
                    <a:pt x="1170204" y="1129811"/>
                    <a:pt x="1174797" y="1130715"/>
                  </a:cubicBezTo>
                  <a:lnTo>
                    <a:pt x="1193627" y="1130715"/>
                  </a:lnTo>
                  <a:cubicBezTo>
                    <a:pt x="1192708" y="1133428"/>
                    <a:pt x="1191330" y="1136141"/>
                    <a:pt x="1190412" y="1138854"/>
                  </a:cubicBezTo>
                  <a:cubicBezTo>
                    <a:pt x="1182604" y="1139759"/>
                    <a:pt x="1174797" y="1140965"/>
                    <a:pt x="1166989" y="1141869"/>
                  </a:cubicBezTo>
                  <a:lnTo>
                    <a:pt x="1136678" y="1160860"/>
                  </a:lnTo>
                  <a:cubicBezTo>
                    <a:pt x="1132544" y="1158750"/>
                    <a:pt x="1127952" y="1156640"/>
                    <a:pt x="1123818" y="1154530"/>
                  </a:cubicBezTo>
                  <a:cubicBezTo>
                    <a:pt x="1126115" y="1149405"/>
                    <a:pt x="1127952" y="1143979"/>
                    <a:pt x="1130248" y="1138854"/>
                  </a:cubicBezTo>
                  <a:lnTo>
                    <a:pt x="1104989" y="1132524"/>
                  </a:lnTo>
                  <a:cubicBezTo>
                    <a:pt x="1107285" y="1131017"/>
                    <a:pt x="1109122" y="1129208"/>
                    <a:pt x="1111418" y="1127701"/>
                  </a:cubicBezTo>
                  <a:cubicBezTo>
                    <a:pt x="1117848" y="1125591"/>
                    <a:pt x="1123818" y="1123481"/>
                    <a:pt x="1130248" y="1121371"/>
                  </a:cubicBezTo>
                  <a:cubicBezTo>
                    <a:pt x="1127952" y="1118055"/>
                    <a:pt x="1126115" y="1115040"/>
                    <a:pt x="1123818" y="1111725"/>
                  </a:cubicBezTo>
                  <a:lnTo>
                    <a:pt x="1087537" y="1105394"/>
                  </a:lnTo>
                  <a:lnTo>
                    <a:pt x="1087537" y="1095748"/>
                  </a:lnTo>
                  <a:cubicBezTo>
                    <a:pt x="1081107" y="1096954"/>
                    <a:pt x="1074677" y="1097858"/>
                    <a:pt x="1068248" y="1099064"/>
                  </a:cubicBezTo>
                  <a:cubicBezTo>
                    <a:pt x="1065492" y="1104490"/>
                    <a:pt x="1063196" y="1109614"/>
                    <a:pt x="1060440" y="1115040"/>
                  </a:cubicBezTo>
                  <a:cubicBezTo>
                    <a:pt x="1054010" y="1121974"/>
                    <a:pt x="1048040" y="1128605"/>
                    <a:pt x="1041610" y="1135539"/>
                  </a:cubicBezTo>
                  <a:cubicBezTo>
                    <a:pt x="1042529" y="1136744"/>
                    <a:pt x="1043447" y="1137649"/>
                    <a:pt x="1044366" y="1138854"/>
                  </a:cubicBezTo>
                  <a:lnTo>
                    <a:pt x="1031966" y="1145185"/>
                  </a:lnTo>
                  <a:cubicBezTo>
                    <a:pt x="1029210" y="1143979"/>
                    <a:pt x="1026914" y="1143075"/>
                    <a:pt x="1024158" y="1141869"/>
                  </a:cubicBezTo>
                  <a:cubicBezTo>
                    <a:pt x="1023240" y="1153927"/>
                    <a:pt x="1021862" y="1166286"/>
                    <a:pt x="1020943" y="1178344"/>
                  </a:cubicBezTo>
                  <a:cubicBezTo>
                    <a:pt x="1016810" y="1181659"/>
                    <a:pt x="1012217" y="1184674"/>
                    <a:pt x="1008084" y="1187990"/>
                  </a:cubicBezTo>
                  <a:lnTo>
                    <a:pt x="998440" y="1206981"/>
                  </a:lnTo>
                  <a:cubicBezTo>
                    <a:pt x="1001654" y="1212708"/>
                    <a:pt x="1004869" y="1218737"/>
                    <a:pt x="1008084" y="1224464"/>
                  </a:cubicBezTo>
                  <a:lnTo>
                    <a:pt x="1008084" y="1234111"/>
                  </a:lnTo>
                  <a:cubicBezTo>
                    <a:pt x="1014054" y="1237125"/>
                    <a:pt x="1019566" y="1240441"/>
                    <a:pt x="1025536" y="1243455"/>
                  </a:cubicBezTo>
                  <a:lnTo>
                    <a:pt x="1024158" y="1245264"/>
                  </a:lnTo>
                  <a:cubicBezTo>
                    <a:pt x="1015432" y="1246168"/>
                    <a:pt x="1007166" y="1247374"/>
                    <a:pt x="998440" y="1248279"/>
                  </a:cubicBezTo>
                  <a:cubicBezTo>
                    <a:pt x="994306" y="1251594"/>
                    <a:pt x="990173" y="1254609"/>
                    <a:pt x="986039" y="1257925"/>
                  </a:cubicBezTo>
                  <a:cubicBezTo>
                    <a:pt x="980069" y="1262145"/>
                    <a:pt x="974558" y="1266365"/>
                    <a:pt x="968587" y="1270585"/>
                  </a:cubicBezTo>
                  <a:cubicBezTo>
                    <a:pt x="966291" y="1267269"/>
                    <a:pt x="964454" y="1264255"/>
                    <a:pt x="962158" y="1260939"/>
                  </a:cubicBezTo>
                  <a:lnTo>
                    <a:pt x="962158" y="1254609"/>
                  </a:lnTo>
                  <a:cubicBezTo>
                    <a:pt x="958024" y="1253705"/>
                    <a:pt x="953432" y="1252499"/>
                    <a:pt x="949298" y="1251594"/>
                  </a:cubicBezTo>
                  <a:cubicBezTo>
                    <a:pt x="945624" y="1250389"/>
                    <a:pt x="941950" y="1249484"/>
                    <a:pt x="938276" y="1248279"/>
                  </a:cubicBezTo>
                  <a:lnTo>
                    <a:pt x="911179" y="1257925"/>
                  </a:lnTo>
                  <a:cubicBezTo>
                    <a:pt x="915772" y="1263351"/>
                    <a:pt x="920824" y="1268475"/>
                    <a:pt x="925417" y="1273901"/>
                  </a:cubicBezTo>
                  <a:cubicBezTo>
                    <a:pt x="922202" y="1274806"/>
                    <a:pt x="918987" y="1276011"/>
                    <a:pt x="915772" y="1276916"/>
                  </a:cubicBezTo>
                  <a:lnTo>
                    <a:pt x="904750" y="1276916"/>
                  </a:lnTo>
                  <a:lnTo>
                    <a:pt x="892350" y="1264255"/>
                  </a:lnTo>
                  <a:cubicBezTo>
                    <a:pt x="890053" y="1265159"/>
                    <a:pt x="888216" y="1266365"/>
                    <a:pt x="885920" y="1267269"/>
                  </a:cubicBezTo>
                  <a:cubicBezTo>
                    <a:pt x="888216" y="1272997"/>
                    <a:pt x="890053" y="1279026"/>
                    <a:pt x="892350" y="1284753"/>
                  </a:cubicBezTo>
                  <a:cubicBezTo>
                    <a:pt x="896483" y="1288973"/>
                    <a:pt x="900616" y="1293495"/>
                    <a:pt x="904750" y="1297715"/>
                  </a:cubicBezTo>
                  <a:cubicBezTo>
                    <a:pt x="901535" y="1299825"/>
                    <a:pt x="898779" y="1301936"/>
                    <a:pt x="895564" y="1304046"/>
                  </a:cubicBezTo>
                  <a:cubicBezTo>
                    <a:pt x="899698" y="1307060"/>
                    <a:pt x="903831" y="1310376"/>
                    <a:pt x="907965" y="1313390"/>
                  </a:cubicBezTo>
                  <a:lnTo>
                    <a:pt x="918987" y="1321529"/>
                  </a:lnTo>
                  <a:lnTo>
                    <a:pt x="918987" y="1337204"/>
                  </a:lnTo>
                  <a:lnTo>
                    <a:pt x="898320" y="1330874"/>
                  </a:lnTo>
                  <a:cubicBezTo>
                    <a:pt x="900616" y="1335094"/>
                    <a:pt x="902453" y="1339315"/>
                    <a:pt x="904750" y="1343535"/>
                  </a:cubicBezTo>
                  <a:cubicBezTo>
                    <a:pt x="900616" y="1344741"/>
                    <a:pt x="896483" y="1345645"/>
                    <a:pt x="892350" y="1346851"/>
                  </a:cubicBezTo>
                  <a:cubicBezTo>
                    <a:pt x="895564" y="1352578"/>
                    <a:pt x="898320" y="1358607"/>
                    <a:pt x="901535" y="1364334"/>
                  </a:cubicBezTo>
                  <a:lnTo>
                    <a:pt x="885920" y="1364334"/>
                  </a:lnTo>
                  <a:lnTo>
                    <a:pt x="865253" y="1356195"/>
                  </a:lnTo>
                  <a:cubicBezTo>
                    <a:pt x="862957" y="1349865"/>
                    <a:pt x="861120" y="1343535"/>
                    <a:pt x="858823" y="1337204"/>
                  </a:cubicBezTo>
                  <a:cubicBezTo>
                    <a:pt x="857905" y="1331477"/>
                    <a:pt x="856527" y="1325448"/>
                    <a:pt x="855608" y="1319721"/>
                  </a:cubicBezTo>
                  <a:cubicBezTo>
                    <a:pt x="851475" y="1315500"/>
                    <a:pt x="846882" y="1311280"/>
                    <a:pt x="842749" y="1307060"/>
                  </a:cubicBezTo>
                  <a:cubicBezTo>
                    <a:pt x="839994" y="1301634"/>
                    <a:pt x="837697" y="1296510"/>
                    <a:pt x="834942" y="1291084"/>
                  </a:cubicBezTo>
                  <a:lnTo>
                    <a:pt x="834942" y="1284753"/>
                  </a:lnTo>
                  <a:lnTo>
                    <a:pt x="828512" y="1284753"/>
                  </a:lnTo>
                  <a:lnTo>
                    <a:pt x="828512" y="1280232"/>
                  </a:lnTo>
                  <a:cubicBezTo>
                    <a:pt x="824379" y="1276011"/>
                    <a:pt x="820245" y="1271490"/>
                    <a:pt x="816112" y="1267269"/>
                  </a:cubicBezTo>
                  <a:lnTo>
                    <a:pt x="816112" y="1257925"/>
                  </a:lnTo>
                  <a:lnTo>
                    <a:pt x="816112" y="1240441"/>
                  </a:lnTo>
                  <a:cubicBezTo>
                    <a:pt x="817030" y="1237125"/>
                    <a:pt x="818408" y="1234111"/>
                    <a:pt x="819327" y="1230795"/>
                  </a:cubicBezTo>
                  <a:cubicBezTo>
                    <a:pt x="818408" y="1229890"/>
                    <a:pt x="817030" y="1228685"/>
                    <a:pt x="816112" y="1227780"/>
                  </a:cubicBezTo>
                  <a:cubicBezTo>
                    <a:pt x="813815" y="1226575"/>
                    <a:pt x="811978" y="1225670"/>
                    <a:pt x="809682" y="1224464"/>
                  </a:cubicBezTo>
                  <a:cubicBezTo>
                    <a:pt x="807386" y="1221450"/>
                    <a:pt x="805549" y="1218134"/>
                    <a:pt x="803252" y="1215120"/>
                  </a:cubicBezTo>
                  <a:cubicBezTo>
                    <a:pt x="801875" y="1213010"/>
                    <a:pt x="800038" y="1210598"/>
                    <a:pt x="798660" y="1208488"/>
                  </a:cubicBezTo>
                  <a:cubicBezTo>
                    <a:pt x="791312" y="1205775"/>
                    <a:pt x="783504" y="1203363"/>
                    <a:pt x="776156" y="1200650"/>
                  </a:cubicBezTo>
                  <a:lnTo>
                    <a:pt x="760541" y="1191306"/>
                  </a:lnTo>
                  <a:cubicBezTo>
                    <a:pt x="753652" y="1189196"/>
                    <a:pt x="746763" y="1186784"/>
                    <a:pt x="739874" y="1184674"/>
                  </a:cubicBezTo>
                  <a:cubicBezTo>
                    <a:pt x="733904" y="1177741"/>
                    <a:pt x="728392" y="1171109"/>
                    <a:pt x="722422" y="1164176"/>
                  </a:cubicBezTo>
                  <a:lnTo>
                    <a:pt x="727015" y="1164176"/>
                  </a:lnTo>
                  <a:cubicBezTo>
                    <a:pt x="724259" y="1158750"/>
                    <a:pt x="721963" y="1153625"/>
                    <a:pt x="719207" y="1148199"/>
                  </a:cubicBezTo>
                  <a:lnTo>
                    <a:pt x="719207" y="1138854"/>
                  </a:lnTo>
                  <a:cubicBezTo>
                    <a:pt x="713696" y="1137649"/>
                    <a:pt x="708644" y="1136744"/>
                    <a:pt x="703133" y="1135539"/>
                  </a:cubicBezTo>
                  <a:cubicBezTo>
                    <a:pt x="699918" y="1139759"/>
                    <a:pt x="697163" y="1143979"/>
                    <a:pt x="693948" y="1148199"/>
                  </a:cubicBezTo>
                  <a:cubicBezTo>
                    <a:pt x="693029" y="1145185"/>
                    <a:pt x="691651" y="1141869"/>
                    <a:pt x="690733" y="1138854"/>
                  </a:cubicBezTo>
                  <a:lnTo>
                    <a:pt x="690733" y="1130715"/>
                  </a:lnTo>
                  <a:lnTo>
                    <a:pt x="690733" y="1127701"/>
                  </a:lnTo>
                  <a:lnTo>
                    <a:pt x="693948" y="1127701"/>
                  </a:lnTo>
                  <a:cubicBezTo>
                    <a:pt x="688896" y="1126495"/>
                    <a:pt x="684303" y="1125591"/>
                    <a:pt x="679251" y="1124385"/>
                  </a:cubicBezTo>
                  <a:cubicBezTo>
                    <a:pt x="672822" y="1127098"/>
                    <a:pt x="666851" y="1129811"/>
                    <a:pt x="660421" y="1132524"/>
                  </a:cubicBezTo>
                  <a:lnTo>
                    <a:pt x="660421" y="1145185"/>
                  </a:lnTo>
                  <a:cubicBezTo>
                    <a:pt x="659503" y="1148199"/>
                    <a:pt x="658125" y="1151515"/>
                    <a:pt x="657207" y="1154530"/>
                  </a:cubicBezTo>
                  <a:lnTo>
                    <a:pt x="666851" y="1167190"/>
                  </a:lnTo>
                  <a:lnTo>
                    <a:pt x="687518" y="1181659"/>
                  </a:lnTo>
                  <a:cubicBezTo>
                    <a:pt x="690733" y="1187990"/>
                    <a:pt x="693488" y="1194320"/>
                    <a:pt x="696703" y="1200650"/>
                  </a:cubicBezTo>
                  <a:cubicBezTo>
                    <a:pt x="705429" y="1208488"/>
                    <a:pt x="713696" y="1216627"/>
                    <a:pt x="722422" y="1224464"/>
                  </a:cubicBezTo>
                  <a:lnTo>
                    <a:pt x="736659" y="1224464"/>
                  </a:lnTo>
                  <a:lnTo>
                    <a:pt x="746304" y="1230795"/>
                  </a:lnTo>
                  <a:lnTo>
                    <a:pt x="736659" y="1237125"/>
                  </a:lnTo>
                  <a:lnTo>
                    <a:pt x="758704" y="1245264"/>
                  </a:lnTo>
                  <a:cubicBezTo>
                    <a:pt x="764674" y="1247374"/>
                    <a:pt x="770185" y="1249484"/>
                    <a:pt x="776156" y="1251594"/>
                  </a:cubicBezTo>
                  <a:lnTo>
                    <a:pt x="795445" y="1264255"/>
                  </a:lnTo>
                  <a:cubicBezTo>
                    <a:pt x="796363" y="1266365"/>
                    <a:pt x="797741" y="1268475"/>
                    <a:pt x="798660" y="1270585"/>
                  </a:cubicBezTo>
                  <a:cubicBezTo>
                    <a:pt x="796363" y="1274203"/>
                    <a:pt x="794526" y="1278121"/>
                    <a:pt x="792230" y="1281739"/>
                  </a:cubicBezTo>
                  <a:lnTo>
                    <a:pt x="782586" y="1267269"/>
                  </a:lnTo>
                  <a:cubicBezTo>
                    <a:pt x="774778" y="1266365"/>
                    <a:pt x="766511" y="1265159"/>
                    <a:pt x="758704" y="1264255"/>
                  </a:cubicBezTo>
                  <a:cubicBezTo>
                    <a:pt x="756408" y="1269982"/>
                    <a:pt x="754570" y="1276011"/>
                    <a:pt x="752274" y="1281739"/>
                  </a:cubicBezTo>
                  <a:cubicBezTo>
                    <a:pt x="757326" y="1284753"/>
                    <a:pt x="761919" y="1288069"/>
                    <a:pt x="766971" y="1291084"/>
                  </a:cubicBezTo>
                  <a:cubicBezTo>
                    <a:pt x="766052" y="1295304"/>
                    <a:pt x="764674" y="1299825"/>
                    <a:pt x="763756" y="1304046"/>
                  </a:cubicBezTo>
                  <a:cubicBezTo>
                    <a:pt x="761000" y="1304950"/>
                    <a:pt x="758245" y="1306156"/>
                    <a:pt x="755489" y="1307060"/>
                  </a:cubicBezTo>
                  <a:lnTo>
                    <a:pt x="743089" y="1327860"/>
                  </a:lnTo>
                  <a:cubicBezTo>
                    <a:pt x="739874" y="1328764"/>
                    <a:pt x="736659" y="1329970"/>
                    <a:pt x="733444" y="1330874"/>
                  </a:cubicBezTo>
                  <a:lnTo>
                    <a:pt x="733444" y="1327860"/>
                  </a:lnTo>
                  <a:cubicBezTo>
                    <a:pt x="734363" y="1325750"/>
                    <a:pt x="735741" y="1323639"/>
                    <a:pt x="736659" y="1321529"/>
                  </a:cubicBezTo>
                  <a:lnTo>
                    <a:pt x="736659" y="1307060"/>
                  </a:lnTo>
                  <a:cubicBezTo>
                    <a:pt x="738956" y="1306156"/>
                    <a:pt x="740793" y="1304950"/>
                    <a:pt x="743089" y="1304046"/>
                  </a:cubicBezTo>
                  <a:cubicBezTo>
                    <a:pt x="740793" y="1298620"/>
                    <a:pt x="738956" y="1293495"/>
                    <a:pt x="736659" y="1288069"/>
                  </a:cubicBezTo>
                  <a:cubicBezTo>
                    <a:pt x="733444" y="1283246"/>
                    <a:pt x="730230" y="1278724"/>
                    <a:pt x="727015" y="1273901"/>
                  </a:cubicBezTo>
                  <a:cubicBezTo>
                    <a:pt x="725637" y="1272695"/>
                    <a:pt x="723800" y="1271791"/>
                    <a:pt x="722422" y="1270585"/>
                  </a:cubicBezTo>
                  <a:cubicBezTo>
                    <a:pt x="719207" y="1267269"/>
                    <a:pt x="715992" y="1264255"/>
                    <a:pt x="712777" y="1260939"/>
                  </a:cubicBezTo>
                  <a:cubicBezTo>
                    <a:pt x="707266" y="1258829"/>
                    <a:pt x="702214" y="1256719"/>
                    <a:pt x="696703" y="1254609"/>
                  </a:cubicBezTo>
                  <a:cubicBezTo>
                    <a:pt x="693488" y="1251594"/>
                    <a:pt x="690733" y="1248279"/>
                    <a:pt x="687518" y="1245264"/>
                  </a:cubicBezTo>
                  <a:lnTo>
                    <a:pt x="673281" y="1243455"/>
                  </a:lnTo>
                  <a:cubicBezTo>
                    <a:pt x="667770" y="1239235"/>
                    <a:pt x="662718" y="1235015"/>
                    <a:pt x="657207" y="1230795"/>
                  </a:cubicBezTo>
                  <a:cubicBezTo>
                    <a:pt x="649399" y="1224464"/>
                    <a:pt x="641132" y="1218134"/>
                    <a:pt x="633325" y="1211804"/>
                  </a:cubicBezTo>
                  <a:lnTo>
                    <a:pt x="617710" y="1200650"/>
                  </a:lnTo>
                  <a:cubicBezTo>
                    <a:pt x="616791" y="1191004"/>
                    <a:pt x="615414" y="1181659"/>
                    <a:pt x="614495" y="1172013"/>
                  </a:cubicBezTo>
                  <a:cubicBezTo>
                    <a:pt x="610821" y="1170506"/>
                    <a:pt x="607147" y="1168697"/>
                    <a:pt x="603473" y="1167190"/>
                  </a:cubicBezTo>
                  <a:lnTo>
                    <a:pt x="584184" y="1160860"/>
                  </a:lnTo>
                  <a:cubicBezTo>
                    <a:pt x="580510" y="1162066"/>
                    <a:pt x="576835" y="1162970"/>
                    <a:pt x="573161" y="1164176"/>
                  </a:cubicBezTo>
                  <a:cubicBezTo>
                    <a:pt x="569028" y="1167793"/>
                    <a:pt x="564435" y="1171712"/>
                    <a:pt x="560302" y="1175329"/>
                  </a:cubicBezTo>
                  <a:cubicBezTo>
                    <a:pt x="558006" y="1176233"/>
                    <a:pt x="556169" y="1177439"/>
                    <a:pt x="553872" y="1178344"/>
                  </a:cubicBezTo>
                  <a:cubicBezTo>
                    <a:pt x="546065" y="1183770"/>
                    <a:pt x="538257" y="1188894"/>
                    <a:pt x="530450" y="1194320"/>
                  </a:cubicBezTo>
                  <a:cubicBezTo>
                    <a:pt x="517131" y="1191004"/>
                    <a:pt x="503813" y="1187990"/>
                    <a:pt x="490494" y="1184674"/>
                  </a:cubicBezTo>
                  <a:cubicBezTo>
                    <a:pt x="479472" y="1187990"/>
                    <a:pt x="468449" y="1191004"/>
                    <a:pt x="457427" y="1194320"/>
                  </a:cubicBezTo>
                  <a:cubicBezTo>
                    <a:pt x="456508" y="1199143"/>
                    <a:pt x="455131" y="1203665"/>
                    <a:pt x="454212" y="1208488"/>
                  </a:cubicBezTo>
                  <a:lnTo>
                    <a:pt x="454212" y="1227780"/>
                  </a:lnTo>
                  <a:lnTo>
                    <a:pt x="431708" y="1245264"/>
                  </a:lnTo>
                  <a:cubicBezTo>
                    <a:pt x="423901" y="1246168"/>
                    <a:pt x="415634" y="1247374"/>
                    <a:pt x="407826" y="1248279"/>
                  </a:cubicBezTo>
                  <a:cubicBezTo>
                    <a:pt x="406908" y="1251594"/>
                    <a:pt x="405530" y="1254609"/>
                    <a:pt x="404612" y="1257925"/>
                  </a:cubicBezTo>
                  <a:cubicBezTo>
                    <a:pt x="400478" y="1263351"/>
                    <a:pt x="396345" y="1268475"/>
                    <a:pt x="392211" y="1273901"/>
                  </a:cubicBezTo>
                  <a:cubicBezTo>
                    <a:pt x="389456" y="1280834"/>
                    <a:pt x="387160" y="1287466"/>
                    <a:pt x="384404" y="1294399"/>
                  </a:cubicBezTo>
                  <a:cubicBezTo>
                    <a:pt x="387160" y="1298620"/>
                    <a:pt x="389456" y="1302840"/>
                    <a:pt x="392211" y="1307060"/>
                  </a:cubicBezTo>
                  <a:cubicBezTo>
                    <a:pt x="387619" y="1311280"/>
                    <a:pt x="382567" y="1315500"/>
                    <a:pt x="377974" y="1319721"/>
                  </a:cubicBezTo>
                  <a:cubicBezTo>
                    <a:pt x="375678" y="1325448"/>
                    <a:pt x="373841" y="1331477"/>
                    <a:pt x="371545" y="1337204"/>
                  </a:cubicBezTo>
                  <a:cubicBezTo>
                    <a:pt x="366033" y="1339315"/>
                    <a:pt x="360982" y="1341425"/>
                    <a:pt x="355470" y="1343535"/>
                  </a:cubicBezTo>
                  <a:cubicBezTo>
                    <a:pt x="350878" y="1349262"/>
                    <a:pt x="345826" y="1355291"/>
                    <a:pt x="341233" y="1361018"/>
                  </a:cubicBezTo>
                  <a:lnTo>
                    <a:pt x="310922" y="1361018"/>
                  </a:lnTo>
                  <a:lnTo>
                    <a:pt x="292092" y="1361018"/>
                  </a:lnTo>
                  <a:cubicBezTo>
                    <a:pt x="286581" y="1363129"/>
                    <a:pt x="281529" y="1365239"/>
                    <a:pt x="276018" y="1367349"/>
                  </a:cubicBezTo>
                  <a:cubicBezTo>
                    <a:pt x="273262" y="1371569"/>
                    <a:pt x="270966" y="1376091"/>
                    <a:pt x="268210" y="1380311"/>
                  </a:cubicBezTo>
                  <a:cubicBezTo>
                    <a:pt x="264995" y="1379105"/>
                    <a:pt x="261781" y="1378201"/>
                    <a:pt x="258566" y="1376995"/>
                  </a:cubicBezTo>
                  <a:cubicBezTo>
                    <a:pt x="255351" y="1373679"/>
                    <a:pt x="252595" y="1370665"/>
                    <a:pt x="249380" y="1367349"/>
                  </a:cubicBezTo>
                  <a:cubicBezTo>
                    <a:pt x="247084" y="1362526"/>
                    <a:pt x="245247" y="1358004"/>
                    <a:pt x="242951" y="1353181"/>
                  </a:cubicBezTo>
                  <a:cubicBezTo>
                    <a:pt x="236980" y="1351975"/>
                    <a:pt x="231469" y="1351071"/>
                    <a:pt x="225499" y="1349865"/>
                  </a:cubicBezTo>
                  <a:lnTo>
                    <a:pt x="215854" y="1356195"/>
                  </a:lnTo>
                  <a:cubicBezTo>
                    <a:pt x="210802" y="1355291"/>
                    <a:pt x="205291" y="1354085"/>
                    <a:pt x="200239" y="1353181"/>
                  </a:cubicBezTo>
                  <a:cubicBezTo>
                    <a:pt x="197484" y="1354085"/>
                    <a:pt x="194728" y="1355291"/>
                    <a:pt x="191972" y="1356195"/>
                  </a:cubicBezTo>
                  <a:cubicBezTo>
                    <a:pt x="192891" y="1349865"/>
                    <a:pt x="194269" y="1343535"/>
                    <a:pt x="195187" y="1337204"/>
                  </a:cubicBezTo>
                  <a:cubicBezTo>
                    <a:pt x="194269" y="1332080"/>
                    <a:pt x="192891" y="1326654"/>
                    <a:pt x="191972" y="1321529"/>
                  </a:cubicBezTo>
                  <a:cubicBezTo>
                    <a:pt x="188758" y="1320926"/>
                    <a:pt x="186002" y="1320324"/>
                    <a:pt x="182787" y="1319721"/>
                  </a:cubicBezTo>
                  <a:cubicBezTo>
                    <a:pt x="181869" y="1315500"/>
                    <a:pt x="180491" y="1311280"/>
                    <a:pt x="179572" y="1307060"/>
                  </a:cubicBezTo>
                  <a:lnTo>
                    <a:pt x="179572" y="1291084"/>
                  </a:lnTo>
                  <a:cubicBezTo>
                    <a:pt x="182787" y="1288069"/>
                    <a:pt x="185543" y="1284753"/>
                    <a:pt x="188758" y="1281739"/>
                  </a:cubicBezTo>
                  <a:lnTo>
                    <a:pt x="188758" y="1270585"/>
                  </a:lnTo>
                  <a:cubicBezTo>
                    <a:pt x="191054" y="1265159"/>
                    <a:pt x="192891" y="1260035"/>
                    <a:pt x="195187" y="1254609"/>
                  </a:cubicBezTo>
                  <a:lnTo>
                    <a:pt x="195187" y="1245264"/>
                  </a:lnTo>
                  <a:cubicBezTo>
                    <a:pt x="192891" y="1242551"/>
                    <a:pt x="191054" y="1239838"/>
                    <a:pt x="188758" y="1237125"/>
                  </a:cubicBezTo>
                  <a:lnTo>
                    <a:pt x="188758" y="1227780"/>
                  </a:lnTo>
                  <a:lnTo>
                    <a:pt x="188758" y="1206981"/>
                  </a:lnTo>
                  <a:cubicBezTo>
                    <a:pt x="185543" y="1203966"/>
                    <a:pt x="182787" y="1200650"/>
                    <a:pt x="179572" y="1197636"/>
                  </a:cubicBezTo>
                  <a:lnTo>
                    <a:pt x="209424" y="1175329"/>
                  </a:lnTo>
                  <a:lnTo>
                    <a:pt x="239736" y="1181659"/>
                  </a:lnTo>
                  <a:lnTo>
                    <a:pt x="268210" y="1181659"/>
                  </a:lnTo>
                  <a:cubicBezTo>
                    <a:pt x="276018" y="1182564"/>
                    <a:pt x="284284" y="1183770"/>
                    <a:pt x="292092" y="1184674"/>
                  </a:cubicBezTo>
                  <a:lnTo>
                    <a:pt x="310922" y="1184674"/>
                  </a:lnTo>
                  <a:lnTo>
                    <a:pt x="347663" y="1184674"/>
                  </a:lnTo>
                  <a:cubicBezTo>
                    <a:pt x="350418" y="1179549"/>
                    <a:pt x="352715" y="1174123"/>
                    <a:pt x="355470" y="1168999"/>
                  </a:cubicBezTo>
                  <a:cubicBezTo>
                    <a:pt x="357767" y="1150912"/>
                    <a:pt x="359604" y="1133127"/>
                    <a:pt x="361900" y="1115040"/>
                  </a:cubicBezTo>
                  <a:cubicBezTo>
                    <a:pt x="354093" y="1105093"/>
                    <a:pt x="345826" y="1094844"/>
                    <a:pt x="338018" y="1084896"/>
                  </a:cubicBezTo>
                  <a:lnTo>
                    <a:pt x="322403" y="1071934"/>
                  </a:lnTo>
                  <a:lnTo>
                    <a:pt x="288877" y="1062589"/>
                  </a:lnTo>
                  <a:cubicBezTo>
                    <a:pt x="287959" y="1054752"/>
                    <a:pt x="286581" y="1046613"/>
                    <a:pt x="285662" y="1038775"/>
                  </a:cubicBezTo>
                  <a:cubicBezTo>
                    <a:pt x="294848" y="1037569"/>
                    <a:pt x="303574" y="1036665"/>
                    <a:pt x="312759" y="1035459"/>
                  </a:cubicBezTo>
                  <a:cubicBezTo>
                    <a:pt x="324700" y="1036665"/>
                    <a:pt x="337100" y="1037569"/>
                    <a:pt x="349041" y="1038775"/>
                  </a:cubicBezTo>
                  <a:cubicBezTo>
                    <a:pt x="348581" y="1028827"/>
                    <a:pt x="348122" y="1018578"/>
                    <a:pt x="347663" y="1008631"/>
                  </a:cubicBezTo>
                  <a:cubicBezTo>
                    <a:pt x="353633" y="1012248"/>
                    <a:pt x="359144" y="1016167"/>
                    <a:pt x="365115" y="1019784"/>
                  </a:cubicBezTo>
                  <a:lnTo>
                    <a:pt x="417471" y="998985"/>
                  </a:lnTo>
                  <a:cubicBezTo>
                    <a:pt x="420227" y="991147"/>
                    <a:pt x="422523" y="983008"/>
                    <a:pt x="425278" y="975171"/>
                  </a:cubicBezTo>
                  <a:lnTo>
                    <a:pt x="444567" y="968840"/>
                  </a:lnTo>
                  <a:cubicBezTo>
                    <a:pt x="450538" y="966730"/>
                    <a:pt x="456049" y="964620"/>
                    <a:pt x="462020" y="962510"/>
                  </a:cubicBezTo>
                  <a:lnTo>
                    <a:pt x="471664" y="956180"/>
                  </a:lnTo>
                  <a:lnTo>
                    <a:pt x="493709" y="910059"/>
                  </a:lnTo>
                  <a:lnTo>
                    <a:pt x="520805" y="902221"/>
                  </a:lnTo>
                  <a:lnTo>
                    <a:pt x="538257" y="902221"/>
                  </a:lnTo>
                  <a:cubicBezTo>
                    <a:pt x="540554" y="900111"/>
                    <a:pt x="542391" y="898001"/>
                    <a:pt x="544687" y="895891"/>
                  </a:cubicBezTo>
                  <a:cubicBezTo>
                    <a:pt x="551117" y="894685"/>
                    <a:pt x="557087" y="893781"/>
                    <a:pt x="563517" y="892575"/>
                  </a:cubicBezTo>
                  <a:cubicBezTo>
                    <a:pt x="565813" y="895891"/>
                    <a:pt x="567650" y="898905"/>
                    <a:pt x="569946" y="902221"/>
                  </a:cubicBezTo>
                  <a:cubicBezTo>
                    <a:pt x="573621" y="895891"/>
                    <a:pt x="577295" y="889259"/>
                    <a:pt x="580969" y="882929"/>
                  </a:cubicBezTo>
                  <a:cubicBezTo>
                    <a:pt x="578672" y="878709"/>
                    <a:pt x="576835" y="874488"/>
                    <a:pt x="574539" y="870268"/>
                  </a:cubicBezTo>
                  <a:lnTo>
                    <a:pt x="574539" y="856100"/>
                  </a:lnTo>
                  <a:cubicBezTo>
                    <a:pt x="573161" y="850674"/>
                    <a:pt x="571324" y="845550"/>
                    <a:pt x="569946" y="840124"/>
                  </a:cubicBezTo>
                  <a:cubicBezTo>
                    <a:pt x="569028" y="828970"/>
                    <a:pt x="567650" y="818118"/>
                    <a:pt x="566732" y="806965"/>
                  </a:cubicBezTo>
                  <a:cubicBezTo>
                    <a:pt x="569028" y="802745"/>
                    <a:pt x="570865" y="798223"/>
                    <a:pt x="573161" y="794003"/>
                  </a:cubicBezTo>
                  <a:lnTo>
                    <a:pt x="574539" y="789481"/>
                  </a:lnTo>
                  <a:cubicBezTo>
                    <a:pt x="580969" y="788275"/>
                    <a:pt x="587398" y="787371"/>
                    <a:pt x="593828" y="786165"/>
                  </a:cubicBezTo>
                  <a:cubicBezTo>
                    <a:pt x="597043" y="782849"/>
                    <a:pt x="600258" y="779835"/>
                    <a:pt x="603473" y="776519"/>
                  </a:cubicBezTo>
                  <a:cubicBezTo>
                    <a:pt x="609443" y="773505"/>
                    <a:pt x="614954" y="770189"/>
                    <a:pt x="620925" y="767174"/>
                  </a:cubicBezTo>
                  <a:lnTo>
                    <a:pt x="620925" y="786165"/>
                  </a:lnTo>
                  <a:cubicBezTo>
                    <a:pt x="618628" y="788878"/>
                    <a:pt x="616791" y="791290"/>
                    <a:pt x="614495" y="794003"/>
                  </a:cubicBezTo>
                  <a:cubicBezTo>
                    <a:pt x="615414" y="797319"/>
                    <a:pt x="616791" y="800333"/>
                    <a:pt x="617710" y="803649"/>
                  </a:cubicBezTo>
                  <a:lnTo>
                    <a:pt x="630110" y="809979"/>
                  </a:lnTo>
                  <a:cubicBezTo>
                    <a:pt x="627814" y="813295"/>
                    <a:pt x="625977" y="816310"/>
                    <a:pt x="623680" y="819626"/>
                  </a:cubicBezTo>
                  <a:cubicBezTo>
                    <a:pt x="621843" y="818420"/>
                    <a:pt x="619547" y="817515"/>
                    <a:pt x="617710" y="816310"/>
                  </a:cubicBezTo>
                  <a:cubicBezTo>
                    <a:pt x="611739" y="824147"/>
                    <a:pt x="606228" y="832286"/>
                    <a:pt x="600258" y="840124"/>
                  </a:cubicBezTo>
                  <a:cubicBezTo>
                    <a:pt x="603473" y="845550"/>
                    <a:pt x="606228" y="850674"/>
                    <a:pt x="609443" y="856100"/>
                  </a:cubicBezTo>
                  <a:lnTo>
                    <a:pt x="609443" y="865445"/>
                  </a:lnTo>
                  <a:cubicBezTo>
                    <a:pt x="616332" y="866952"/>
                    <a:pt x="623221" y="868761"/>
                    <a:pt x="630110" y="870268"/>
                  </a:cubicBezTo>
                  <a:lnTo>
                    <a:pt x="630110" y="876598"/>
                  </a:lnTo>
                  <a:lnTo>
                    <a:pt x="630110" y="882929"/>
                  </a:lnTo>
                  <a:lnTo>
                    <a:pt x="650777" y="876598"/>
                  </a:lnTo>
                  <a:cubicBezTo>
                    <a:pt x="654910" y="874488"/>
                    <a:pt x="659503" y="872378"/>
                    <a:pt x="663636" y="870268"/>
                  </a:cubicBezTo>
                  <a:lnTo>
                    <a:pt x="690733" y="879914"/>
                  </a:lnTo>
                  <a:cubicBezTo>
                    <a:pt x="692570" y="884135"/>
                    <a:pt x="694866" y="888355"/>
                    <a:pt x="696703" y="892575"/>
                  </a:cubicBezTo>
                  <a:cubicBezTo>
                    <a:pt x="703133" y="889259"/>
                    <a:pt x="709563" y="886245"/>
                    <a:pt x="715992" y="882929"/>
                  </a:cubicBezTo>
                  <a:lnTo>
                    <a:pt x="749519" y="867254"/>
                  </a:lnTo>
                  <a:cubicBezTo>
                    <a:pt x="759622" y="863636"/>
                    <a:pt x="769267" y="859718"/>
                    <a:pt x="779371" y="856100"/>
                  </a:cubicBezTo>
                  <a:lnTo>
                    <a:pt x="798660" y="862431"/>
                  </a:lnTo>
                  <a:cubicBezTo>
                    <a:pt x="799119" y="865144"/>
                    <a:pt x="799578" y="867555"/>
                    <a:pt x="800038" y="870268"/>
                  </a:cubicBezTo>
                  <a:lnTo>
                    <a:pt x="822542" y="870268"/>
                  </a:lnTo>
                  <a:cubicBezTo>
                    <a:pt x="823460" y="865445"/>
                    <a:pt x="824379" y="860923"/>
                    <a:pt x="825297" y="856100"/>
                  </a:cubicBezTo>
                  <a:cubicBezTo>
                    <a:pt x="836319" y="852784"/>
                    <a:pt x="847801" y="849770"/>
                    <a:pt x="858823" y="846454"/>
                  </a:cubicBezTo>
                  <a:cubicBezTo>
                    <a:pt x="856527" y="838617"/>
                    <a:pt x="854690" y="830478"/>
                    <a:pt x="852394" y="822640"/>
                  </a:cubicBezTo>
                  <a:lnTo>
                    <a:pt x="852394" y="797319"/>
                  </a:lnTo>
                  <a:cubicBezTo>
                    <a:pt x="856527" y="790386"/>
                    <a:pt x="861120" y="783452"/>
                    <a:pt x="865253" y="776519"/>
                  </a:cubicBezTo>
                  <a:cubicBezTo>
                    <a:pt x="872142" y="773505"/>
                    <a:pt x="879031" y="770189"/>
                    <a:pt x="885920" y="767174"/>
                  </a:cubicBezTo>
                  <a:cubicBezTo>
                    <a:pt x="892350" y="775615"/>
                    <a:pt x="898320" y="784055"/>
                    <a:pt x="904750" y="792496"/>
                  </a:cubicBezTo>
                  <a:lnTo>
                    <a:pt x="918987" y="792496"/>
                  </a:lnTo>
                  <a:cubicBezTo>
                    <a:pt x="919905" y="784055"/>
                    <a:pt x="921283" y="775615"/>
                    <a:pt x="922202" y="767174"/>
                  </a:cubicBezTo>
                  <a:cubicBezTo>
                    <a:pt x="923120" y="761447"/>
                    <a:pt x="924498" y="755418"/>
                    <a:pt x="925417" y="749691"/>
                  </a:cubicBezTo>
                  <a:lnTo>
                    <a:pt x="918987" y="749691"/>
                  </a:lnTo>
                  <a:cubicBezTo>
                    <a:pt x="914394" y="746375"/>
                    <a:pt x="909342" y="743360"/>
                    <a:pt x="904750" y="740044"/>
                  </a:cubicBezTo>
                  <a:lnTo>
                    <a:pt x="904750" y="721053"/>
                  </a:lnTo>
                  <a:cubicBezTo>
                    <a:pt x="913935" y="717436"/>
                    <a:pt x="922661" y="713517"/>
                    <a:pt x="931846" y="709900"/>
                  </a:cubicBezTo>
                  <a:lnTo>
                    <a:pt x="958943" y="709900"/>
                  </a:lnTo>
                  <a:cubicBezTo>
                    <a:pt x="967210" y="711106"/>
                    <a:pt x="975936" y="712010"/>
                    <a:pt x="984202" y="713216"/>
                  </a:cubicBezTo>
                  <a:cubicBezTo>
                    <a:pt x="992010" y="712010"/>
                    <a:pt x="1000277" y="711106"/>
                    <a:pt x="1008084" y="709900"/>
                  </a:cubicBezTo>
                  <a:lnTo>
                    <a:pt x="1028751" y="690909"/>
                  </a:lnTo>
                  <a:lnTo>
                    <a:pt x="1008084" y="676440"/>
                  </a:lnTo>
                  <a:lnTo>
                    <a:pt x="965373" y="678248"/>
                  </a:lnTo>
                  <a:lnTo>
                    <a:pt x="928631" y="690909"/>
                  </a:lnTo>
                  <a:lnTo>
                    <a:pt x="892350" y="700254"/>
                  </a:lnTo>
                  <a:cubicBezTo>
                    <a:pt x="888216" y="693924"/>
                    <a:pt x="883624" y="687593"/>
                    <a:pt x="879490" y="681263"/>
                  </a:cubicBezTo>
                  <a:cubicBezTo>
                    <a:pt x="872601" y="678550"/>
                    <a:pt x="865712" y="676138"/>
                    <a:pt x="858823" y="673425"/>
                  </a:cubicBezTo>
                  <a:cubicBezTo>
                    <a:pt x="859742" y="661368"/>
                    <a:pt x="861120" y="649008"/>
                    <a:pt x="862038" y="636951"/>
                  </a:cubicBezTo>
                  <a:cubicBezTo>
                    <a:pt x="858823" y="627304"/>
                    <a:pt x="855608" y="617960"/>
                    <a:pt x="852394" y="608314"/>
                  </a:cubicBezTo>
                  <a:cubicBezTo>
                    <a:pt x="855608" y="600476"/>
                    <a:pt x="858823" y="592337"/>
                    <a:pt x="862038" y="584499"/>
                  </a:cubicBezTo>
                  <a:cubicBezTo>
                    <a:pt x="869846" y="578169"/>
                    <a:pt x="878112" y="571839"/>
                    <a:pt x="885920" y="565509"/>
                  </a:cubicBezTo>
                  <a:lnTo>
                    <a:pt x="935061" y="524211"/>
                  </a:lnTo>
                  <a:cubicBezTo>
                    <a:pt x="939194" y="522101"/>
                    <a:pt x="943787" y="519991"/>
                    <a:pt x="947921" y="517880"/>
                  </a:cubicBezTo>
                  <a:lnTo>
                    <a:pt x="947921" y="504918"/>
                  </a:lnTo>
                  <a:cubicBezTo>
                    <a:pt x="937357" y="497985"/>
                    <a:pt x="926335" y="491353"/>
                    <a:pt x="915772" y="484420"/>
                  </a:cubicBezTo>
                  <a:lnTo>
                    <a:pt x="879490" y="495574"/>
                  </a:lnTo>
                  <a:cubicBezTo>
                    <a:pt x="872601" y="505220"/>
                    <a:pt x="865712" y="514565"/>
                    <a:pt x="858823" y="524211"/>
                  </a:cubicBezTo>
                  <a:lnTo>
                    <a:pt x="858823" y="544709"/>
                  </a:lnTo>
                  <a:lnTo>
                    <a:pt x="825297" y="568523"/>
                  </a:lnTo>
                  <a:cubicBezTo>
                    <a:pt x="811060" y="580279"/>
                    <a:pt x="796823" y="591734"/>
                    <a:pt x="782586" y="603490"/>
                  </a:cubicBezTo>
                  <a:cubicBezTo>
                    <a:pt x="776156" y="618261"/>
                    <a:pt x="770185" y="633333"/>
                    <a:pt x="763756" y="648104"/>
                  </a:cubicBezTo>
                  <a:cubicBezTo>
                    <a:pt x="770185" y="657449"/>
                    <a:pt x="776156" y="667095"/>
                    <a:pt x="782586" y="676440"/>
                  </a:cubicBezTo>
                  <a:cubicBezTo>
                    <a:pt x="788556" y="681263"/>
                    <a:pt x="794067" y="686086"/>
                    <a:pt x="800038" y="690909"/>
                  </a:cubicBezTo>
                  <a:cubicBezTo>
                    <a:pt x="794067" y="704173"/>
                    <a:pt x="788556" y="717436"/>
                    <a:pt x="782586" y="730700"/>
                  </a:cubicBezTo>
                  <a:cubicBezTo>
                    <a:pt x="774778" y="731604"/>
                    <a:pt x="766511" y="732810"/>
                    <a:pt x="758704" y="733714"/>
                  </a:cubicBezTo>
                  <a:cubicBezTo>
                    <a:pt x="756408" y="753308"/>
                    <a:pt x="754570" y="772902"/>
                    <a:pt x="752274" y="792496"/>
                  </a:cubicBezTo>
                  <a:cubicBezTo>
                    <a:pt x="747222" y="801539"/>
                    <a:pt x="741711" y="810582"/>
                    <a:pt x="736659" y="819626"/>
                  </a:cubicBezTo>
                  <a:cubicBezTo>
                    <a:pt x="728852" y="818420"/>
                    <a:pt x="720585" y="817515"/>
                    <a:pt x="712777" y="816310"/>
                  </a:cubicBezTo>
                  <a:cubicBezTo>
                    <a:pt x="707266" y="824147"/>
                    <a:pt x="702214" y="832286"/>
                    <a:pt x="696703" y="840124"/>
                  </a:cubicBezTo>
                  <a:lnTo>
                    <a:pt x="676496" y="840124"/>
                  </a:lnTo>
                  <a:cubicBezTo>
                    <a:pt x="673281" y="830176"/>
                    <a:pt x="670066" y="819927"/>
                    <a:pt x="666851" y="809979"/>
                  </a:cubicBezTo>
                  <a:lnTo>
                    <a:pt x="647562" y="776519"/>
                  </a:lnTo>
                  <a:cubicBezTo>
                    <a:pt x="642969" y="762351"/>
                    <a:pt x="637918" y="747882"/>
                    <a:pt x="633325" y="733714"/>
                  </a:cubicBezTo>
                  <a:cubicBezTo>
                    <a:pt x="628273" y="725877"/>
                    <a:pt x="622762" y="717738"/>
                    <a:pt x="617710" y="709900"/>
                  </a:cubicBezTo>
                  <a:cubicBezTo>
                    <a:pt x="603013" y="723164"/>
                    <a:pt x="587858" y="736427"/>
                    <a:pt x="573161" y="749691"/>
                  </a:cubicBezTo>
                  <a:cubicBezTo>
                    <a:pt x="563517" y="751198"/>
                    <a:pt x="554332" y="753007"/>
                    <a:pt x="544687" y="754514"/>
                  </a:cubicBezTo>
                  <a:lnTo>
                    <a:pt x="511161" y="740044"/>
                  </a:lnTo>
                  <a:cubicBezTo>
                    <a:pt x="508864" y="728891"/>
                    <a:pt x="507027" y="718039"/>
                    <a:pt x="504731" y="706886"/>
                  </a:cubicBezTo>
                  <a:cubicBezTo>
                    <a:pt x="501975" y="681564"/>
                    <a:pt x="499679" y="655942"/>
                    <a:pt x="496924" y="630620"/>
                  </a:cubicBezTo>
                  <a:cubicBezTo>
                    <a:pt x="503813" y="622180"/>
                    <a:pt x="510701" y="613438"/>
                    <a:pt x="517590" y="604998"/>
                  </a:cubicBezTo>
                  <a:cubicBezTo>
                    <a:pt x="536420" y="595954"/>
                    <a:pt x="555709" y="587212"/>
                    <a:pt x="574539" y="578169"/>
                  </a:cubicBezTo>
                  <a:cubicBezTo>
                    <a:pt x="590154" y="566111"/>
                    <a:pt x="605310" y="553752"/>
                    <a:pt x="620925" y="541694"/>
                  </a:cubicBezTo>
                  <a:cubicBezTo>
                    <a:pt x="634243" y="524814"/>
                    <a:pt x="647103" y="507631"/>
                    <a:pt x="660421" y="490750"/>
                  </a:cubicBezTo>
                  <a:cubicBezTo>
                    <a:pt x="678792" y="466936"/>
                    <a:pt x="697622" y="443122"/>
                    <a:pt x="715992" y="419308"/>
                  </a:cubicBezTo>
                  <a:lnTo>
                    <a:pt x="752274" y="389164"/>
                  </a:lnTo>
                  <a:lnTo>
                    <a:pt x="812897" y="343043"/>
                  </a:lnTo>
                  <a:cubicBezTo>
                    <a:pt x="828053" y="336110"/>
                    <a:pt x="843668" y="329478"/>
                    <a:pt x="858823" y="322545"/>
                  </a:cubicBezTo>
                  <a:cubicBezTo>
                    <a:pt x="872142" y="323449"/>
                    <a:pt x="885001" y="324655"/>
                    <a:pt x="898320" y="325559"/>
                  </a:cubicBezTo>
                  <a:cubicBezTo>
                    <a:pt x="908424" y="315612"/>
                    <a:pt x="918528" y="305363"/>
                    <a:pt x="928631" y="295415"/>
                  </a:cubicBezTo>
                  <a:lnTo>
                    <a:pt x="968587" y="295415"/>
                  </a:lnTo>
                  <a:lnTo>
                    <a:pt x="1008084" y="285769"/>
                  </a:lnTo>
                  <a:cubicBezTo>
                    <a:pt x="1031506" y="295716"/>
                    <a:pt x="1054470" y="305965"/>
                    <a:pt x="1077892" y="315913"/>
                  </a:cubicBezTo>
                  <a:lnTo>
                    <a:pt x="1050796" y="325559"/>
                  </a:lnTo>
                  <a:cubicBezTo>
                    <a:pt x="1058603" y="334603"/>
                    <a:pt x="1066870" y="343646"/>
                    <a:pt x="1074677" y="352689"/>
                  </a:cubicBezTo>
                  <a:cubicBezTo>
                    <a:pt x="1082025" y="347866"/>
                    <a:pt x="1089833" y="343043"/>
                    <a:pt x="1097181" y="338220"/>
                  </a:cubicBezTo>
                  <a:cubicBezTo>
                    <a:pt x="1109122" y="345153"/>
                    <a:pt x="1121522" y="352086"/>
                    <a:pt x="1133463" y="359020"/>
                  </a:cubicBezTo>
                  <a:lnTo>
                    <a:pt x="1193627" y="371680"/>
                  </a:lnTo>
                  <a:lnTo>
                    <a:pt x="1279509" y="414485"/>
                  </a:lnTo>
                  <a:cubicBezTo>
                    <a:pt x="1285479" y="420213"/>
                    <a:pt x="1290990" y="426242"/>
                    <a:pt x="1296961" y="431969"/>
                  </a:cubicBezTo>
                  <a:lnTo>
                    <a:pt x="1296961" y="455783"/>
                  </a:lnTo>
                  <a:cubicBezTo>
                    <a:pt x="1289153" y="463319"/>
                    <a:pt x="1280887" y="470554"/>
                    <a:pt x="1273079" y="478090"/>
                  </a:cubicBezTo>
                  <a:lnTo>
                    <a:pt x="1233582" y="484420"/>
                  </a:lnTo>
                  <a:lnTo>
                    <a:pt x="1136678" y="459099"/>
                  </a:lnTo>
                  <a:cubicBezTo>
                    <a:pt x="1131167" y="460003"/>
                    <a:pt x="1126115" y="461209"/>
                    <a:pt x="1120604" y="462113"/>
                  </a:cubicBezTo>
                  <a:lnTo>
                    <a:pt x="1157345" y="490750"/>
                  </a:lnTo>
                  <a:lnTo>
                    <a:pt x="1157345" y="508234"/>
                  </a:lnTo>
                  <a:cubicBezTo>
                    <a:pt x="1158263" y="520292"/>
                    <a:pt x="1159641" y="532651"/>
                    <a:pt x="1160560" y="544709"/>
                  </a:cubicBezTo>
                  <a:lnTo>
                    <a:pt x="1190412" y="554355"/>
                  </a:lnTo>
                  <a:cubicBezTo>
                    <a:pt x="1195923" y="557370"/>
                    <a:pt x="1200975" y="560685"/>
                    <a:pt x="1206486" y="563700"/>
                  </a:cubicBezTo>
                  <a:cubicBezTo>
                    <a:pt x="1207404" y="557370"/>
                    <a:pt x="1208782" y="551039"/>
                    <a:pt x="1209701" y="544709"/>
                  </a:cubicBezTo>
                  <a:cubicBezTo>
                    <a:pt x="1204190" y="539283"/>
                    <a:pt x="1199138" y="534158"/>
                    <a:pt x="1193627" y="528732"/>
                  </a:cubicBezTo>
                  <a:cubicBezTo>
                    <a:pt x="1199138" y="525115"/>
                    <a:pt x="1204190" y="521498"/>
                    <a:pt x="1209701" y="517880"/>
                  </a:cubicBezTo>
                  <a:lnTo>
                    <a:pt x="1263435" y="538379"/>
                  </a:lnTo>
                  <a:cubicBezTo>
                    <a:pt x="1269864" y="535063"/>
                    <a:pt x="1276294" y="532048"/>
                    <a:pt x="1282724" y="528732"/>
                  </a:cubicBezTo>
                  <a:cubicBezTo>
                    <a:pt x="1277213" y="520895"/>
                    <a:pt x="1272161" y="512756"/>
                    <a:pt x="1266649" y="504918"/>
                  </a:cubicBezTo>
                  <a:lnTo>
                    <a:pt x="1319006" y="468444"/>
                  </a:lnTo>
                  <a:lnTo>
                    <a:pt x="1339672" y="468444"/>
                  </a:lnTo>
                  <a:cubicBezTo>
                    <a:pt x="1347021" y="472664"/>
                    <a:pt x="1354828" y="476884"/>
                    <a:pt x="1362176" y="481104"/>
                  </a:cubicBezTo>
                  <a:cubicBezTo>
                    <a:pt x="1365850" y="473870"/>
                    <a:pt x="1369525" y="466334"/>
                    <a:pt x="1373199" y="459099"/>
                  </a:cubicBezTo>
                  <a:cubicBezTo>
                    <a:pt x="1367228" y="451261"/>
                    <a:pt x="1361717" y="443122"/>
                    <a:pt x="1355747" y="435285"/>
                  </a:cubicBezTo>
                  <a:lnTo>
                    <a:pt x="1366769" y="414485"/>
                  </a:lnTo>
                  <a:cubicBezTo>
                    <a:pt x="1360799" y="406045"/>
                    <a:pt x="1355287" y="397604"/>
                    <a:pt x="1349317" y="389164"/>
                  </a:cubicBezTo>
                  <a:lnTo>
                    <a:pt x="1409480" y="405140"/>
                  </a:lnTo>
                  <a:cubicBezTo>
                    <a:pt x="1414992" y="410868"/>
                    <a:pt x="1420044" y="416595"/>
                    <a:pt x="1425555" y="422323"/>
                  </a:cubicBezTo>
                  <a:cubicBezTo>
                    <a:pt x="1415451" y="423529"/>
                    <a:pt x="1405347" y="424433"/>
                    <a:pt x="1395243" y="425639"/>
                  </a:cubicBezTo>
                  <a:lnTo>
                    <a:pt x="1395243" y="450960"/>
                  </a:lnTo>
                  <a:cubicBezTo>
                    <a:pt x="1401214" y="454577"/>
                    <a:pt x="1406725" y="458496"/>
                    <a:pt x="1412695" y="462113"/>
                  </a:cubicBezTo>
                  <a:lnTo>
                    <a:pt x="1446222" y="452769"/>
                  </a:lnTo>
                  <a:cubicBezTo>
                    <a:pt x="1448518" y="444931"/>
                    <a:pt x="1450355" y="436792"/>
                    <a:pt x="1452651" y="428955"/>
                  </a:cubicBezTo>
                  <a:lnTo>
                    <a:pt x="1498578" y="411471"/>
                  </a:lnTo>
                  <a:lnTo>
                    <a:pt x="1574815" y="379518"/>
                  </a:lnTo>
                  <a:cubicBezTo>
                    <a:pt x="1580786" y="380724"/>
                    <a:pt x="1586297" y="381628"/>
                    <a:pt x="1592267" y="382834"/>
                  </a:cubicBezTo>
                  <a:cubicBezTo>
                    <a:pt x="1585378" y="390370"/>
                    <a:pt x="1578490" y="397604"/>
                    <a:pt x="1571601" y="405140"/>
                  </a:cubicBezTo>
                  <a:cubicBezTo>
                    <a:pt x="1580786" y="406045"/>
                    <a:pt x="1589512" y="407251"/>
                    <a:pt x="1598697" y="408155"/>
                  </a:cubicBezTo>
                  <a:cubicBezTo>
                    <a:pt x="1603749" y="403935"/>
                    <a:pt x="1609260" y="399714"/>
                    <a:pt x="1614312" y="395494"/>
                  </a:cubicBezTo>
                  <a:cubicBezTo>
                    <a:pt x="1628549" y="394288"/>
                    <a:pt x="1643246" y="393384"/>
                    <a:pt x="1657483" y="392178"/>
                  </a:cubicBezTo>
                  <a:cubicBezTo>
                    <a:pt x="1667587" y="387054"/>
                    <a:pt x="1677231" y="381628"/>
                    <a:pt x="1687335" y="376503"/>
                  </a:cubicBezTo>
                  <a:cubicBezTo>
                    <a:pt x="1696520" y="384944"/>
                    <a:pt x="1705246" y="393384"/>
                    <a:pt x="1714432" y="401825"/>
                  </a:cubicBezTo>
                  <a:cubicBezTo>
                    <a:pt x="1722239" y="393384"/>
                    <a:pt x="1730506" y="384944"/>
                    <a:pt x="1738313" y="376503"/>
                  </a:cubicBezTo>
                  <a:cubicBezTo>
                    <a:pt x="1731424" y="368666"/>
                    <a:pt x="1724535" y="360527"/>
                    <a:pt x="1717646" y="352689"/>
                  </a:cubicBezTo>
                  <a:lnTo>
                    <a:pt x="1727291" y="340029"/>
                  </a:lnTo>
                  <a:lnTo>
                    <a:pt x="1793884" y="352689"/>
                  </a:lnTo>
                  <a:cubicBezTo>
                    <a:pt x="1803988" y="355704"/>
                    <a:pt x="1814092" y="359020"/>
                    <a:pt x="1824196" y="362034"/>
                  </a:cubicBezTo>
                  <a:lnTo>
                    <a:pt x="1903189" y="408155"/>
                  </a:lnTo>
                  <a:cubicBezTo>
                    <a:pt x="1908700" y="400619"/>
                    <a:pt x="1913752" y="393384"/>
                    <a:pt x="1919263" y="385848"/>
                  </a:cubicBezTo>
                  <a:cubicBezTo>
                    <a:pt x="1911915" y="380121"/>
                    <a:pt x="1904567" y="374092"/>
                    <a:pt x="1897219" y="368364"/>
                  </a:cubicBezTo>
                  <a:lnTo>
                    <a:pt x="1897219" y="359020"/>
                  </a:lnTo>
                  <a:cubicBezTo>
                    <a:pt x="1888033" y="357814"/>
                    <a:pt x="1879307" y="356909"/>
                    <a:pt x="1870122" y="355704"/>
                  </a:cubicBezTo>
                  <a:cubicBezTo>
                    <a:pt x="1872418" y="349976"/>
                    <a:pt x="1874255" y="343947"/>
                    <a:pt x="1876552" y="338220"/>
                  </a:cubicBezTo>
                  <a:cubicBezTo>
                    <a:pt x="1872418" y="326464"/>
                    <a:pt x="1867826" y="315009"/>
                    <a:pt x="1863692" y="303252"/>
                  </a:cubicBezTo>
                  <a:lnTo>
                    <a:pt x="1863692" y="295415"/>
                  </a:lnTo>
                  <a:cubicBezTo>
                    <a:pt x="1877011" y="282151"/>
                    <a:pt x="1889870" y="268888"/>
                    <a:pt x="1903189" y="255624"/>
                  </a:cubicBezTo>
                  <a:cubicBezTo>
                    <a:pt x="1908700" y="243567"/>
                    <a:pt x="1913752" y="231207"/>
                    <a:pt x="1919263" y="219150"/>
                  </a:cubicBezTo>
                  <a:lnTo>
                    <a:pt x="1936715" y="209504"/>
                  </a:lnTo>
                  <a:lnTo>
                    <a:pt x="1995501" y="219150"/>
                  </a:lnTo>
                  <a:cubicBezTo>
                    <a:pt x="1996420" y="226987"/>
                    <a:pt x="1997797" y="235126"/>
                    <a:pt x="1998716" y="242964"/>
                  </a:cubicBezTo>
                  <a:cubicBezTo>
                    <a:pt x="1992286" y="255021"/>
                    <a:pt x="1985856" y="267381"/>
                    <a:pt x="1979427" y="279438"/>
                  </a:cubicBezTo>
                  <a:cubicBezTo>
                    <a:pt x="1983560" y="283659"/>
                    <a:pt x="1988153" y="287879"/>
                    <a:pt x="1992286" y="292099"/>
                  </a:cubicBezTo>
                  <a:cubicBezTo>
                    <a:pt x="1994582" y="299937"/>
                    <a:pt x="1996420" y="308076"/>
                    <a:pt x="1998716" y="315913"/>
                  </a:cubicBezTo>
                  <a:cubicBezTo>
                    <a:pt x="1996420" y="334603"/>
                    <a:pt x="1994582" y="352991"/>
                    <a:pt x="1992286" y="371680"/>
                  </a:cubicBezTo>
                  <a:cubicBezTo>
                    <a:pt x="2001471" y="379518"/>
                    <a:pt x="2010197" y="387657"/>
                    <a:pt x="2019383" y="395494"/>
                  </a:cubicBezTo>
                  <a:cubicBezTo>
                    <a:pt x="2015249" y="403332"/>
                    <a:pt x="2010657" y="411471"/>
                    <a:pt x="2006523" y="419308"/>
                  </a:cubicBezTo>
                  <a:cubicBezTo>
                    <a:pt x="1993205" y="437696"/>
                    <a:pt x="1980345" y="456386"/>
                    <a:pt x="1967027" y="474774"/>
                  </a:cubicBezTo>
                  <a:lnTo>
                    <a:pt x="1989071" y="481104"/>
                  </a:lnTo>
                  <a:cubicBezTo>
                    <a:pt x="1992745" y="475980"/>
                    <a:pt x="1996420" y="470554"/>
                    <a:pt x="2000094" y="465429"/>
                  </a:cubicBezTo>
                  <a:lnTo>
                    <a:pt x="2025812" y="455783"/>
                  </a:lnTo>
                  <a:cubicBezTo>
                    <a:pt x="2027649" y="450056"/>
                    <a:pt x="2029946" y="444027"/>
                    <a:pt x="2031783" y="438299"/>
                  </a:cubicBezTo>
                  <a:cubicBezTo>
                    <a:pt x="2037753" y="431969"/>
                    <a:pt x="2043264" y="425639"/>
                    <a:pt x="2049235" y="419308"/>
                  </a:cubicBezTo>
                  <a:cubicBezTo>
                    <a:pt x="2044642" y="412375"/>
                    <a:pt x="2039590" y="405442"/>
                    <a:pt x="2034998" y="398509"/>
                  </a:cubicBezTo>
                  <a:cubicBezTo>
                    <a:pt x="2038672" y="390671"/>
                    <a:pt x="2042805" y="382532"/>
                    <a:pt x="2046479" y="374695"/>
                  </a:cubicBezTo>
                  <a:cubicBezTo>
                    <a:pt x="2038672" y="373790"/>
                    <a:pt x="2030405" y="372585"/>
                    <a:pt x="2022598" y="371680"/>
                  </a:cubicBezTo>
                  <a:cubicBezTo>
                    <a:pt x="2020301" y="364144"/>
                    <a:pt x="2018464" y="356909"/>
                    <a:pt x="2016168" y="349373"/>
                  </a:cubicBezTo>
                  <a:cubicBezTo>
                    <a:pt x="2022598" y="336110"/>
                    <a:pt x="2028568" y="322846"/>
                    <a:pt x="2034998" y="309583"/>
                  </a:cubicBezTo>
                  <a:cubicBezTo>
                    <a:pt x="2024435" y="298429"/>
                    <a:pt x="2013872" y="287577"/>
                    <a:pt x="2003308" y="276424"/>
                  </a:cubicBezTo>
                  <a:cubicBezTo>
                    <a:pt x="2017546" y="267381"/>
                    <a:pt x="2032242" y="258337"/>
                    <a:pt x="2046479" y="249294"/>
                  </a:cubicBezTo>
                  <a:cubicBezTo>
                    <a:pt x="2044183" y="239346"/>
                    <a:pt x="2042346" y="229097"/>
                    <a:pt x="2040050" y="219150"/>
                  </a:cubicBezTo>
                  <a:lnTo>
                    <a:pt x="2049235" y="219150"/>
                  </a:lnTo>
                  <a:cubicBezTo>
                    <a:pt x="2053368" y="226083"/>
                    <a:pt x="2057961" y="233016"/>
                    <a:pt x="2062094" y="239949"/>
                  </a:cubicBezTo>
                  <a:cubicBezTo>
                    <a:pt x="2058879" y="254117"/>
                    <a:pt x="2055665" y="268586"/>
                    <a:pt x="2052450" y="282754"/>
                  </a:cubicBezTo>
                  <a:lnTo>
                    <a:pt x="2076331" y="289085"/>
                  </a:lnTo>
                  <a:cubicBezTo>
                    <a:pt x="2072657" y="279137"/>
                    <a:pt x="2068983" y="268888"/>
                    <a:pt x="2065309" y="258940"/>
                  </a:cubicBezTo>
                  <a:lnTo>
                    <a:pt x="2104806" y="239949"/>
                  </a:lnTo>
                  <a:lnTo>
                    <a:pt x="2149354" y="239949"/>
                  </a:lnTo>
                  <a:lnTo>
                    <a:pt x="2192525" y="261955"/>
                  </a:lnTo>
                  <a:cubicBezTo>
                    <a:pt x="2184718" y="250198"/>
                    <a:pt x="2176451" y="238744"/>
                    <a:pt x="2168643" y="226987"/>
                  </a:cubicBezTo>
                  <a:lnTo>
                    <a:pt x="2168643" y="185689"/>
                  </a:lnTo>
                  <a:cubicBezTo>
                    <a:pt x="2181962" y="182675"/>
                    <a:pt x="2194821" y="179359"/>
                    <a:pt x="2208140" y="176345"/>
                  </a:cubicBezTo>
                  <a:lnTo>
                    <a:pt x="2260496" y="179359"/>
                  </a:lnTo>
                  <a:lnTo>
                    <a:pt x="2308259" y="173029"/>
                  </a:lnTo>
                  <a:cubicBezTo>
                    <a:pt x="2302289" y="165191"/>
                    <a:pt x="2296778" y="157052"/>
                    <a:pt x="2290807" y="149215"/>
                  </a:cubicBezTo>
                  <a:cubicBezTo>
                    <a:pt x="2299993" y="138664"/>
                    <a:pt x="2308719" y="128114"/>
                    <a:pt x="2317904" y="117563"/>
                  </a:cubicBezTo>
                  <a:lnTo>
                    <a:pt x="2341786" y="117563"/>
                  </a:lnTo>
                  <a:lnTo>
                    <a:pt x="2384497" y="96764"/>
                  </a:lnTo>
                  <a:lnTo>
                    <a:pt x="2443283" y="87419"/>
                  </a:lnTo>
                  <a:cubicBezTo>
                    <a:pt x="2446039" y="84103"/>
                    <a:pt x="2448335" y="81088"/>
                    <a:pt x="2451091" y="77773"/>
                  </a:cubicBezTo>
                  <a:lnTo>
                    <a:pt x="2506661" y="74758"/>
                  </a:lnTo>
                  <a:cubicBezTo>
                    <a:pt x="2513091" y="77773"/>
                    <a:pt x="2519062" y="81088"/>
                    <a:pt x="2525491" y="84103"/>
                  </a:cubicBezTo>
                  <a:lnTo>
                    <a:pt x="2576469" y="60289"/>
                  </a:lnTo>
                  <a:lnTo>
                    <a:pt x="2616425" y="60289"/>
                  </a:lnTo>
                  <a:cubicBezTo>
                    <a:pt x="2618262" y="53959"/>
                    <a:pt x="2620559" y="47628"/>
                    <a:pt x="2622396" y="41298"/>
                  </a:cubicBezTo>
                  <a:lnTo>
                    <a:pt x="2643063" y="20498"/>
                  </a:lnTo>
                  <a:close/>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56" name="Freeform 213">
              <a:extLst>
                <a:ext uri="{FF2B5EF4-FFF2-40B4-BE49-F238E27FC236}">
                  <a16:creationId xmlns:a16="http://schemas.microsoft.com/office/drawing/2014/main" id="{CECBD465-5B4D-6A7D-C1F2-F8158115C42A}"/>
                </a:ext>
              </a:extLst>
            </p:cNvPr>
            <p:cNvSpPr>
              <a:spLocks/>
            </p:cNvSpPr>
            <p:nvPr/>
          </p:nvSpPr>
          <p:spPr bwMode="auto">
            <a:xfrm>
              <a:off x="2233614" y="2286050"/>
              <a:ext cx="61913" cy="20647"/>
            </a:xfrm>
            <a:custGeom>
              <a:avLst/>
              <a:gdLst>
                <a:gd name="T0" fmla="*/ 0 w 39"/>
                <a:gd name="T1" fmla="*/ 0 h 13"/>
                <a:gd name="T2" fmla="*/ 29 w 39"/>
                <a:gd name="T3" fmla="*/ 0 h 13"/>
                <a:gd name="T4" fmla="*/ 39 w 39"/>
                <a:gd name="T5" fmla="*/ 7 h 13"/>
                <a:gd name="T6" fmla="*/ 37 w 39"/>
                <a:gd name="T7" fmla="*/ 11 h 13"/>
                <a:gd name="T8" fmla="*/ 31 w 39"/>
                <a:gd name="T9" fmla="*/ 13 h 13"/>
                <a:gd name="T10" fmla="*/ 4 w 39"/>
                <a:gd name="T11" fmla="*/ 9 h 13"/>
                <a:gd name="T12" fmla="*/ 0 w 39"/>
                <a:gd name="T13" fmla="*/ 0 h 13"/>
              </a:gdLst>
              <a:ahLst/>
              <a:cxnLst>
                <a:cxn ang="0">
                  <a:pos x="T0" y="T1"/>
                </a:cxn>
                <a:cxn ang="0">
                  <a:pos x="T2" y="T3"/>
                </a:cxn>
                <a:cxn ang="0">
                  <a:pos x="T4" y="T5"/>
                </a:cxn>
                <a:cxn ang="0">
                  <a:pos x="T6" y="T7"/>
                </a:cxn>
                <a:cxn ang="0">
                  <a:pos x="T8" y="T9"/>
                </a:cxn>
                <a:cxn ang="0">
                  <a:pos x="T10" y="T11"/>
                </a:cxn>
                <a:cxn ang="0">
                  <a:pos x="T12" y="T13"/>
                </a:cxn>
              </a:cxnLst>
              <a:rect l="0" t="0" r="r" b="b"/>
              <a:pathLst>
                <a:path w="39" h="13">
                  <a:moveTo>
                    <a:pt x="0" y="0"/>
                  </a:moveTo>
                  <a:lnTo>
                    <a:pt x="29" y="0"/>
                  </a:lnTo>
                  <a:lnTo>
                    <a:pt x="39" y="7"/>
                  </a:lnTo>
                  <a:lnTo>
                    <a:pt x="37" y="11"/>
                  </a:lnTo>
                  <a:lnTo>
                    <a:pt x="31" y="13"/>
                  </a:lnTo>
                  <a:lnTo>
                    <a:pt x="4" y="9"/>
                  </a:lnTo>
                  <a:lnTo>
                    <a:pt x="0" y="0"/>
                  </a:lnTo>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57" name="Freeform 215">
              <a:extLst>
                <a:ext uri="{FF2B5EF4-FFF2-40B4-BE49-F238E27FC236}">
                  <a16:creationId xmlns:a16="http://schemas.microsoft.com/office/drawing/2014/main" id="{3888FD5A-673B-F93C-C9D1-A2F6D9C011C9}"/>
                </a:ext>
              </a:extLst>
            </p:cNvPr>
            <p:cNvSpPr>
              <a:spLocks/>
            </p:cNvSpPr>
            <p:nvPr/>
          </p:nvSpPr>
          <p:spPr bwMode="auto">
            <a:xfrm>
              <a:off x="1855789" y="2270168"/>
              <a:ext cx="82550" cy="36530"/>
            </a:xfrm>
            <a:custGeom>
              <a:avLst/>
              <a:gdLst>
                <a:gd name="T0" fmla="*/ 33 w 52"/>
                <a:gd name="T1" fmla="*/ 0 h 23"/>
                <a:gd name="T2" fmla="*/ 52 w 52"/>
                <a:gd name="T3" fmla="*/ 6 h 23"/>
                <a:gd name="T4" fmla="*/ 48 w 52"/>
                <a:gd name="T5" fmla="*/ 14 h 23"/>
                <a:gd name="T6" fmla="*/ 21 w 52"/>
                <a:gd name="T7" fmla="*/ 23 h 23"/>
                <a:gd name="T8" fmla="*/ 0 w 52"/>
                <a:gd name="T9" fmla="*/ 14 h 23"/>
                <a:gd name="T10" fmla="*/ 14 w 52"/>
                <a:gd name="T11" fmla="*/ 4 h 23"/>
                <a:gd name="T12" fmla="*/ 33 w 52"/>
                <a:gd name="T13" fmla="*/ 0 h 23"/>
              </a:gdLst>
              <a:ahLst/>
              <a:cxnLst>
                <a:cxn ang="0">
                  <a:pos x="T0" y="T1"/>
                </a:cxn>
                <a:cxn ang="0">
                  <a:pos x="T2" y="T3"/>
                </a:cxn>
                <a:cxn ang="0">
                  <a:pos x="T4" y="T5"/>
                </a:cxn>
                <a:cxn ang="0">
                  <a:pos x="T6" y="T7"/>
                </a:cxn>
                <a:cxn ang="0">
                  <a:pos x="T8" y="T9"/>
                </a:cxn>
                <a:cxn ang="0">
                  <a:pos x="T10" y="T11"/>
                </a:cxn>
                <a:cxn ang="0">
                  <a:pos x="T12" y="T13"/>
                </a:cxn>
              </a:cxnLst>
              <a:rect l="0" t="0" r="r" b="b"/>
              <a:pathLst>
                <a:path w="52" h="23">
                  <a:moveTo>
                    <a:pt x="33" y="0"/>
                  </a:moveTo>
                  <a:lnTo>
                    <a:pt x="52" y="6"/>
                  </a:lnTo>
                  <a:lnTo>
                    <a:pt x="48" y="14"/>
                  </a:lnTo>
                  <a:lnTo>
                    <a:pt x="21" y="23"/>
                  </a:lnTo>
                  <a:lnTo>
                    <a:pt x="0" y="14"/>
                  </a:lnTo>
                  <a:lnTo>
                    <a:pt x="14" y="4"/>
                  </a:lnTo>
                  <a:lnTo>
                    <a:pt x="33" y="0"/>
                  </a:lnTo>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58" name="Freeform 217">
              <a:extLst>
                <a:ext uri="{FF2B5EF4-FFF2-40B4-BE49-F238E27FC236}">
                  <a16:creationId xmlns:a16="http://schemas.microsoft.com/office/drawing/2014/main" id="{1F548AB3-FA20-DF87-A918-8D91201845B7}"/>
                </a:ext>
              </a:extLst>
            </p:cNvPr>
            <p:cNvSpPr>
              <a:spLocks/>
            </p:cNvSpPr>
            <p:nvPr/>
          </p:nvSpPr>
          <p:spPr bwMode="auto">
            <a:xfrm>
              <a:off x="4822825" y="2257462"/>
              <a:ext cx="92075" cy="49235"/>
            </a:xfrm>
            <a:custGeom>
              <a:avLst/>
              <a:gdLst>
                <a:gd name="T0" fmla="*/ 31 w 58"/>
                <a:gd name="T1" fmla="*/ 0 h 31"/>
                <a:gd name="T2" fmla="*/ 39 w 58"/>
                <a:gd name="T3" fmla="*/ 12 h 31"/>
                <a:gd name="T4" fmla="*/ 58 w 58"/>
                <a:gd name="T5" fmla="*/ 18 h 31"/>
                <a:gd name="T6" fmla="*/ 27 w 58"/>
                <a:gd name="T7" fmla="*/ 31 h 31"/>
                <a:gd name="T8" fmla="*/ 0 w 58"/>
                <a:gd name="T9" fmla="*/ 23 h 31"/>
                <a:gd name="T10" fmla="*/ 10 w 58"/>
                <a:gd name="T11" fmla="*/ 16 h 31"/>
                <a:gd name="T12" fmla="*/ 2 w 58"/>
                <a:gd name="T13" fmla="*/ 4 h 31"/>
                <a:gd name="T14" fmla="*/ 31 w 58"/>
                <a:gd name="T15" fmla="*/ 0 h 3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 h="31">
                  <a:moveTo>
                    <a:pt x="31" y="0"/>
                  </a:moveTo>
                  <a:lnTo>
                    <a:pt x="39" y="12"/>
                  </a:lnTo>
                  <a:lnTo>
                    <a:pt x="58" y="18"/>
                  </a:lnTo>
                  <a:lnTo>
                    <a:pt x="27" y="31"/>
                  </a:lnTo>
                  <a:lnTo>
                    <a:pt x="0" y="23"/>
                  </a:lnTo>
                  <a:lnTo>
                    <a:pt x="10" y="16"/>
                  </a:lnTo>
                  <a:lnTo>
                    <a:pt x="2" y="4"/>
                  </a:lnTo>
                  <a:lnTo>
                    <a:pt x="31" y="0"/>
                  </a:lnTo>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59" name="Freeform 219">
              <a:extLst>
                <a:ext uri="{FF2B5EF4-FFF2-40B4-BE49-F238E27FC236}">
                  <a16:creationId xmlns:a16="http://schemas.microsoft.com/office/drawing/2014/main" id="{6F5F9B51-1049-D9C9-CD53-8DB316180F9B}"/>
                </a:ext>
              </a:extLst>
            </p:cNvPr>
            <p:cNvSpPr>
              <a:spLocks/>
            </p:cNvSpPr>
            <p:nvPr/>
          </p:nvSpPr>
          <p:spPr bwMode="auto">
            <a:xfrm>
              <a:off x="1881189" y="2239992"/>
              <a:ext cx="63500" cy="20647"/>
            </a:xfrm>
            <a:custGeom>
              <a:avLst/>
              <a:gdLst>
                <a:gd name="T0" fmla="*/ 13 w 40"/>
                <a:gd name="T1" fmla="*/ 0 h 13"/>
                <a:gd name="T2" fmla="*/ 21 w 40"/>
                <a:gd name="T3" fmla="*/ 0 h 13"/>
                <a:gd name="T4" fmla="*/ 40 w 40"/>
                <a:gd name="T5" fmla="*/ 6 h 13"/>
                <a:gd name="T6" fmla="*/ 23 w 40"/>
                <a:gd name="T7" fmla="*/ 13 h 13"/>
                <a:gd name="T8" fmla="*/ 0 w 40"/>
                <a:gd name="T9" fmla="*/ 13 h 13"/>
                <a:gd name="T10" fmla="*/ 0 w 40"/>
                <a:gd name="T11" fmla="*/ 8 h 13"/>
                <a:gd name="T12" fmla="*/ 13 w 40"/>
                <a:gd name="T13" fmla="*/ 0 h 13"/>
              </a:gdLst>
              <a:ahLst/>
              <a:cxnLst>
                <a:cxn ang="0">
                  <a:pos x="T0" y="T1"/>
                </a:cxn>
                <a:cxn ang="0">
                  <a:pos x="T2" y="T3"/>
                </a:cxn>
                <a:cxn ang="0">
                  <a:pos x="T4" y="T5"/>
                </a:cxn>
                <a:cxn ang="0">
                  <a:pos x="T6" y="T7"/>
                </a:cxn>
                <a:cxn ang="0">
                  <a:pos x="T8" y="T9"/>
                </a:cxn>
                <a:cxn ang="0">
                  <a:pos x="T10" y="T11"/>
                </a:cxn>
                <a:cxn ang="0">
                  <a:pos x="T12" y="T13"/>
                </a:cxn>
              </a:cxnLst>
              <a:rect l="0" t="0" r="r" b="b"/>
              <a:pathLst>
                <a:path w="40" h="13">
                  <a:moveTo>
                    <a:pt x="13" y="0"/>
                  </a:moveTo>
                  <a:lnTo>
                    <a:pt x="21" y="0"/>
                  </a:lnTo>
                  <a:lnTo>
                    <a:pt x="40" y="6"/>
                  </a:lnTo>
                  <a:lnTo>
                    <a:pt x="23" y="13"/>
                  </a:lnTo>
                  <a:lnTo>
                    <a:pt x="0" y="13"/>
                  </a:lnTo>
                  <a:lnTo>
                    <a:pt x="0" y="8"/>
                  </a:lnTo>
                  <a:lnTo>
                    <a:pt x="13" y="0"/>
                  </a:lnTo>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60" name="Freeform 221">
              <a:extLst>
                <a:ext uri="{FF2B5EF4-FFF2-40B4-BE49-F238E27FC236}">
                  <a16:creationId xmlns:a16="http://schemas.microsoft.com/office/drawing/2014/main" id="{3BAEFFA8-11DA-C9D1-2840-A98C70F4BFFB}"/>
                </a:ext>
              </a:extLst>
            </p:cNvPr>
            <p:cNvSpPr>
              <a:spLocks/>
            </p:cNvSpPr>
            <p:nvPr/>
          </p:nvSpPr>
          <p:spPr bwMode="auto">
            <a:xfrm>
              <a:off x="2185989" y="2236816"/>
              <a:ext cx="66675" cy="49235"/>
            </a:xfrm>
            <a:custGeom>
              <a:avLst/>
              <a:gdLst>
                <a:gd name="T0" fmla="*/ 0 w 42"/>
                <a:gd name="T1" fmla="*/ 0 h 31"/>
                <a:gd name="T2" fmla="*/ 19 w 42"/>
                <a:gd name="T3" fmla="*/ 2 h 31"/>
                <a:gd name="T4" fmla="*/ 26 w 42"/>
                <a:gd name="T5" fmla="*/ 4 h 31"/>
                <a:gd name="T6" fmla="*/ 42 w 42"/>
                <a:gd name="T7" fmla="*/ 13 h 31"/>
                <a:gd name="T8" fmla="*/ 38 w 42"/>
                <a:gd name="T9" fmla="*/ 25 h 31"/>
                <a:gd name="T10" fmla="*/ 19 w 42"/>
                <a:gd name="T11" fmla="*/ 31 h 31"/>
                <a:gd name="T12" fmla="*/ 7 w 42"/>
                <a:gd name="T13" fmla="*/ 25 h 31"/>
                <a:gd name="T14" fmla="*/ 2 w 42"/>
                <a:gd name="T15" fmla="*/ 13 h 31"/>
                <a:gd name="T16" fmla="*/ 0 w 42"/>
                <a:gd name="T17"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 h="31">
                  <a:moveTo>
                    <a:pt x="0" y="0"/>
                  </a:moveTo>
                  <a:lnTo>
                    <a:pt x="19" y="2"/>
                  </a:lnTo>
                  <a:lnTo>
                    <a:pt x="26" y="4"/>
                  </a:lnTo>
                  <a:lnTo>
                    <a:pt x="42" y="13"/>
                  </a:lnTo>
                  <a:lnTo>
                    <a:pt x="38" y="25"/>
                  </a:lnTo>
                  <a:lnTo>
                    <a:pt x="19" y="31"/>
                  </a:lnTo>
                  <a:lnTo>
                    <a:pt x="7" y="25"/>
                  </a:lnTo>
                  <a:lnTo>
                    <a:pt x="2" y="13"/>
                  </a:lnTo>
                  <a:lnTo>
                    <a:pt x="0" y="0"/>
                  </a:lnTo>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61" name="Freeform 223">
              <a:extLst>
                <a:ext uri="{FF2B5EF4-FFF2-40B4-BE49-F238E27FC236}">
                  <a16:creationId xmlns:a16="http://schemas.microsoft.com/office/drawing/2014/main" id="{248F1D55-CC16-38E6-3AEB-378345D65C07}"/>
                </a:ext>
              </a:extLst>
            </p:cNvPr>
            <p:cNvSpPr>
              <a:spLocks/>
            </p:cNvSpPr>
            <p:nvPr/>
          </p:nvSpPr>
          <p:spPr bwMode="auto">
            <a:xfrm>
              <a:off x="2036764" y="2216168"/>
              <a:ext cx="127000" cy="66705"/>
            </a:xfrm>
            <a:custGeom>
              <a:avLst/>
              <a:gdLst>
                <a:gd name="T0" fmla="*/ 0 w 80"/>
                <a:gd name="T1" fmla="*/ 0 h 42"/>
                <a:gd name="T2" fmla="*/ 26 w 80"/>
                <a:gd name="T3" fmla="*/ 3 h 42"/>
                <a:gd name="T4" fmla="*/ 65 w 80"/>
                <a:gd name="T5" fmla="*/ 15 h 42"/>
                <a:gd name="T6" fmla="*/ 74 w 80"/>
                <a:gd name="T7" fmla="*/ 28 h 42"/>
                <a:gd name="T8" fmla="*/ 80 w 80"/>
                <a:gd name="T9" fmla="*/ 42 h 42"/>
                <a:gd name="T10" fmla="*/ 57 w 80"/>
                <a:gd name="T11" fmla="*/ 40 h 42"/>
                <a:gd name="T12" fmla="*/ 34 w 80"/>
                <a:gd name="T13" fmla="*/ 28 h 42"/>
                <a:gd name="T14" fmla="*/ 3 w 80"/>
                <a:gd name="T15" fmla="*/ 28 h 42"/>
                <a:gd name="T16" fmla="*/ 17 w 80"/>
                <a:gd name="T17" fmla="*/ 19 h 42"/>
                <a:gd name="T18" fmla="*/ 0 w 80"/>
                <a:gd name="T19" fmla="*/ 11 h 42"/>
                <a:gd name="T20" fmla="*/ 0 w 80"/>
                <a:gd name="T21"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0" h="42">
                  <a:moveTo>
                    <a:pt x="0" y="0"/>
                  </a:moveTo>
                  <a:lnTo>
                    <a:pt x="26" y="3"/>
                  </a:lnTo>
                  <a:lnTo>
                    <a:pt x="65" y="15"/>
                  </a:lnTo>
                  <a:lnTo>
                    <a:pt x="74" y="28"/>
                  </a:lnTo>
                  <a:lnTo>
                    <a:pt x="80" y="42"/>
                  </a:lnTo>
                  <a:lnTo>
                    <a:pt x="57" y="40"/>
                  </a:lnTo>
                  <a:lnTo>
                    <a:pt x="34" y="28"/>
                  </a:lnTo>
                  <a:lnTo>
                    <a:pt x="3" y="28"/>
                  </a:lnTo>
                  <a:lnTo>
                    <a:pt x="17" y="19"/>
                  </a:lnTo>
                  <a:lnTo>
                    <a:pt x="0" y="11"/>
                  </a:lnTo>
                  <a:lnTo>
                    <a:pt x="0" y="0"/>
                  </a:lnTo>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62" name="Freeform 225">
              <a:extLst>
                <a:ext uri="{FF2B5EF4-FFF2-40B4-BE49-F238E27FC236}">
                  <a16:creationId xmlns:a16="http://schemas.microsoft.com/office/drawing/2014/main" id="{371D457F-73BA-A38A-C7E4-B85E66A8E80B}"/>
                </a:ext>
              </a:extLst>
            </p:cNvPr>
            <p:cNvSpPr>
              <a:spLocks/>
            </p:cNvSpPr>
            <p:nvPr/>
          </p:nvSpPr>
          <p:spPr bwMode="auto">
            <a:xfrm>
              <a:off x="6569075" y="2212992"/>
              <a:ext cx="130175" cy="69882"/>
            </a:xfrm>
            <a:custGeom>
              <a:avLst/>
              <a:gdLst>
                <a:gd name="T0" fmla="*/ 36 w 82"/>
                <a:gd name="T1" fmla="*/ 0 h 44"/>
                <a:gd name="T2" fmla="*/ 46 w 82"/>
                <a:gd name="T3" fmla="*/ 3 h 44"/>
                <a:gd name="T4" fmla="*/ 82 w 82"/>
                <a:gd name="T5" fmla="*/ 21 h 44"/>
                <a:gd name="T6" fmla="*/ 77 w 82"/>
                <a:gd name="T7" fmla="*/ 30 h 44"/>
                <a:gd name="T8" fmla="*/ 0 w 82"/>
                <a:gd name="T9" fmla="*/ 44 h 44"/>
                <a:gd name="T10" fmla="*/ 23 w 82"/>
                <a:gd name="T11" fmla="*/ 3 h 44"/>
                <a:gd name="T12" fmla="*/ 36 w 82"/>
                <a:gd name="T13" fmla="*/ 0 h 44"/>
              </a:gdLst>
              <a:ahLst/>
              <a:cxnLst>
                <a:cxn ang="0">
                  <a:pos x="T0" y="T1"/>
                </a:cxn>
                <a:cxn ang="0">
                  <a:pos x="T2" y="T3"/>
                </a:cxn>
                <a:cxn ang="0">
                  <a:pos x="T4" y="T5"/>
                </a:cxn>
                <a:cxn ang="0">
                  <a:pos x="T6" y="T7"/>
                </a:cxn>
                <a:cxn ang="0">
                  <a:pos x="T8" y="T9"/>
                </a:cxn>
                <a:cxn ang="0">
                  <a:pos x="T10" y="T11"/>
                </a:cxn>
                <a:cxn ang="0">
                  <a:pos x="T12" y="T13"/>
                </a:cxn>
              </a:cxnLst>
              <a:rect l="0" t="0" r="r" b="b"/>
              <a:pathLst>
                <a:path w="82" h="44">
                  <a:moveTo>
                    <a:pt x="36" y="0"/>
                  </a:moveTo>
                  <a:lnTo>
                    <a:pt x="46" y="3"/>
                  </a:lnTo>
                  <a:lnTo>
                    <a:pt x="82" y="21"/>
                  </a:lnTo>
                  <a:lnTo>
                    <a:pt x="77" y="30"/>
                  </a:lnTo>
                  <a:lnTo>
                    <a:pt x="0" y="44"/>
                  </a:lnTo>
                  <a:lnTo>
                    <a:pt x="23" y="3"/>
                  </a:lnTo>
                  <a:lnTo>
                    <a:pt x="36" y="0"/>
                  </a:lnTo>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63" name="Freeform 227">
              <a:extLst>
                <a:ext uri="{FF2B5EF4-FFF2-40B4-BE49-F238E27FC236}">
                  <a16:creationId xmlns:a16="http://schemas.microsoft.com/office/drawing/2014/main" id="{C1CED143-CE75-2AA2-71E0-29F6C31A2AFB}"/>
                </a:ext>
              </a:extLst>
            </p:cNvPr>
            <p:cNvSpPr>
              <a:spLocks/>
            </p:cNvSpPr>
            <p:nvPr/>
          </p:nvSpPr>
          <p:spPr bwMode="auto">
            <a:xfrm>
              <a:off x="4597400" y="2179640"/>
              <a:ext cx="244475" cy="157234"/>
            </a:xfrm>
            <a:custGeom>
              <a:avLst/>
              <a:gdLst>
                <a:gd name="T0" fmla="*/ 90 w 154"/>
                <a:gd name="T1" fmla="*/ 0 h 99"/>
                <a:gd name="T2" fmla="*/ 110 w 154"/>
                <a:gd name="T3" fmla="*/ 11 h 99"/>
                <a:gd name="T4" fmla="*/ 154 w 154"/>
                <a:gd name="T5" fmla="*/ 34 h 99"/>
                <a:gd name="T6" fmla="*/ 119 w 154"/>
                <a:gd name="T7" fmla="*/ 46 h 99"/>
                <a:gd name="T8" fmla="*/ 114 w 154"/>
                <a:gd name="T9" fmla="*/ 67 h 99"/>
                <a:gd name="T10" fmla="*/ 100 w 154"/>
                <a:gd name="T11" fmla="*/ 72 h 99"/>
                <a:gd name="T12" fmla="*/ 92 w 154"/>
                <a:gd name="T13" fmla="*/ 99 h 99"/>
                <a:gd name="T14" fmla="*/ 75 w 154"/>
                <a:gd name="T15" fmla="*/ 99 h 99"/>
                <a:gd name="T16" fmla="*/ 46 w 154"/>
                <a:gd name="T17" fmla="*/ 82 h 99"/>
                <a:gd name="T18" fmla="*/ 60 w 154"/>
                <a:gd name="T19" fmla="*/ 71 h 99"/>
                <a:gd name="T20" fmla="*/ 39 w 154"/>
                <a:gd name="T21" fmla="*/ 63 h 99"/>
                <a:gd name="T22" fmla="*/ 10 w 154"/>
                <a:gd name="T23" fmla="*/ 36 h 99"/>
                <a:gd name="T24" fmla="*/ 0 w 154"/>
                <a:gd name="T25" fmla="*/ 13 h 99"/>
                <a:gd name="T26" fmla="*/ 39 w 154"/>
                <a:gd name="T27" fmla="*/ 1 h 99"/>
                <a:gd name="T28" fmla="*/ 46 w 154"/>
                <a:gd name="T29" fmla="*/ 11 h 99"/>
                <a:gd name="T30" fmla="*/ 66 w 154"/>
                <a:gd name="T31" fmla="*/ 11 h 99"/>
                <a:gd name="T32" fmla="*/ 71 w 154"/>
                <a:gd name="T33" fmla="*/ 1 h 99"/>
                <a:gd name="T34" fmla="*/ 90 w 154"/>
                <a:gd name="T35" fmla="*/ 0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4" h="99">
                  <a:moveTo>
                    <a:pt x="90" y="0"/>
                  </a:moveTo>
                  <a:lnTo>
                    <a:pt x="110" y="11"/>
                  </a:lnTo>
                  <a:lnTo>
                    <a:pt x="154" y="34"/>
                  </a:lnTo>
                  <a:lnTo>
                    <a:pt x="119" y="46"/>
                  </a:lnTo>
                  <a:lnTo>
                    <a:pt x="114" y="67"/>
                  </a:lnTo>
                  <a:lnTo>
                    <a:pt x="100" y="72"/>
                  </a:lnTo>
                  <a:lnTo>
                    <a:pt x="92" y="99"/>
                  </a:lnTo>
                  <a:lnTo>
                    <a:pt x="75" y="99"/>
                  </a:lnTo>
                  <a:lnTo>
                    <a:pt x="46" y="82"/>
                  </a:lnTo>
                  <a:lnTo>
                    <a:pt x="60" y="71"/>
                  </a:lnTo>
                  <a:lnTo>
                    <a:pt x="39" y="63"/>
                  </a:lnTo>
                  <a:lnTo>
                    <a:pt x="10" y="36"/>
                  </a:lnTo>
                  <a:lnTo>
                    <a:pt x="0" y="13"/>
                  </a:lnTo>
                  <a:lnTo>
                    <a:pt x="39" y="1"/>
                  </a:lnTo>
                  <a:lnTo>
                    <a:pt x="46" y="11"/>
                  </a:lnTo>
                  <a:lnTo>
                    <a:pt x="66" y="11"/>
                  </a:lnTo>
                  <a:lnTo>
                    <a:pt x="71" y="1"/>
                  </a:lnTo>
                  <a:lnTo>
                    <a:pt x="90" y="0"/>
                  </a:lnTo>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64" name="Freeform 229">
              <a:extLst>
                <a:ext uri="{FF2B5EF4-FFF2-40B4-BE49-F238E27FC236}">
                  <a16:creationId xmlns:a16="http://schemas.microsoft.com/office/drawing/2014/main" id="{67CB1EB3-15F6-F52C-0F79-CE2476E4793B}"/>
                </a:ext>
              </a:extLst>
            </p:cNvPr>
            <p:cNvSpPr>
              <a:spLocks/>
            </p:cNvSpPr>
            <p:nvPr/>
          </p:nvSpPr>
          <p:spPr bwMode="auto">
            <a:xfrm>
              <a:off x="4749800" y="2144699"/>
              <a:ext cx="222250" cy="65117"/>
            </a:xfrm>
            <a:custGeom>
              <a:avLst/>
              <a:gdLst>
                <a:gd name="T0" fmla="*/ 79 w 140"/>
                <a:gd name="T1" fmla="*/ 0 h 41"/>
                <a:gd name="T2" fmla="*/ 113 w 140"/>
                <a:gd name="T3" fmla="*/ 8 h 41"/>
                <a:gd name="T4" fmla="*/ 140 w 140"/>
                <a:gd name="T5" fmla="*/ 22 h 41"/>
                <a:gd name="T6" fmla="*/ 121 w 140"/>
                <a:gd name="T7" fmla="*/ 37 h 41"/>
                <a:gd name="T8" fmla="*/ 81 w 140"/>
                <a:gd name="T9" fmla="*/ 41 h 41"/>
                <a:gd name="T10" fmla="*/ 39 w 140"/>
                <a:gd name="T11" fmla="*/ 35 h 41"/>
                <a:gd name="T12" fmla="*/ 37 w 140"/>
                <a:gd name="T13" fmla="*/ 27 h 41"/>
                <a:gd name="T14" fmla="*/ 18 w 140"/>
                <a:gd name="T15" fmla="*/ 27 h 41"/>
                <a:gd name="T16" fmla="*/ 0 w 140"/>
                <a:gd name="T17" fmla="*/ 12 h 41"/>
                <a:gd name="T18" fmla="*/ 44 w 140"/>
                <a:gd name="T19" fmla="*/ 4 h 41"/>
                <a:gd name="T20" fmla="*/ 64 w 140"/>
                <a:gd name="T21" fmla="*/ 10 h 41"/>
                <a:gd name="T22" fmla="*/ 79 w 140"/>
                <a:gd name="T23" fmla="*/ 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0" h="41">
                  <a:moveTo>
                    <a:pt x="79" y="0"/>
                  </a:moveTo>
                  <a:lnTo>
                    <a:pt x="113" y="8"/>
                  </a:lnTo>
                  <a:lnTo>
                    <a:pt x="140" y="22"/>
                  </a:lnTo>
                  <a:lnTo>
                    <a:pt x="121" y="37"/>
                  </a:lnTo>
                  <a:lnTo>
                    <a:pt x="81" y="41"/>
                  </a:lnTo>
                  <a:lnTo>
                    <a:pt x="39" y="35"/>
                  </a:lnTo>
                  <a:lnTo>
                    <a:pt x="37" y="27"/>
                  </a:lnTo>
                  <a:lnTo>
                    <a:pt x="18" y="27"/>
                  </a:lnTo>
                  <a:lnTo>
                    <a:pt x="0" y="12"/>
                  </a:lnTo>
                  <a:lnTo>
                    <a:pt x="44" y="4"/>
                  </a:lnTo>
                  <a:lnTo>
                    <a:pt x="64" y="10"/>
                  </a:lnTo>
                  <a:lnTo>
                    <a:pt x="79" y="0"/>
                  </a:lnTo>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65" name="Freeform 231">
              <a:extLst>
                <a:ext uri="{FF2B5EF4-FFF2-40B4-BE49-F238E27FC236}">
                  <a16:creationId xmlns:a16="http://schemas.microsoft.com/office/drawing/2014/main" id="{0FAB1F09-6E1B-1B58-F326-502EFF1C0D85}"/>
                </a:ext>
              </a:extLst>
            </p:cNvPr>
            <p:cNvSpPr>
              <a:spLocks/>
            </p:cNvSpPr>
            <p:nvPr/>
          </p:nvSpPr>
          <p:spPr bwMode="auto">
            <a:xfrm>
              <a:off x="5359400" y="2133581"/>
              <a:ext cx="149225" cy="47647"/>
            </a:xfrm>
            <a:custGeom>
              <a:avLst/>
              <a:gdLst>
                <a:gd name="T0" fmla="*/ 71 w 94"/>
                <a:gd name="T1" fmla="*/ 0 h 30"/>
                <a:gd name="T2" fmla="*/ 94 w 94"/>
                <a:gd name="T3" fmla="*/ 7 h 30"/>
                <a:gd name="T4" fmla="*/ 88 w 94"/>
                <a:gd name="T5" fmla="*/ 13 h 30"/>
                <a:gd name="T6" fmla="*/ 69 w 94"/>
                <a:gd name="T7" fmla="*/ 15 h 30"/>
                <a:gd name="T8" fmla="*/ 58 w 94"/>
                <a:gd name="T9" fmla="*/ 19 h 30"/>
                <a:gd name="T10" fmla="*/ 56 w 94"/>
                <a:gd name="T11" fmla="*/ 25 h 30"/>
                <a:gd name="T12" fmla="*/ 38 w 94"/>
                <a:gd name="T13" fmla="*/ 30 h 30"/>
                <a:gd name="T14" fmla="*/ 23 w 94"/>
                <a:gd name="T15" fmla="*/ 21 h 30"/>
                <a:gd name="T16" fmla="*/ 33 w 94"/>
                <a:gd name="T17" fmla="*/ 11 h 30"/>
                <a:gd name="T18" fmla="*/ 0 w 94"/>
                <a:gd name="T19" fmla="*/ 11 h 30"/>
                <a:gd name="T20" fmla="*/ 27 w 94"/>
                <a:gd name="T21" fmla="*/ 5 h 30"/>
                <a:gd name="T22" fmla="*/ 48 w 94"/>
                <a:gd name="T23" fmla="*/ 5 h 30"/>
                <a:gd name="T24" fmla="*/ 52 w 94"/>
                <a:gd name="T25" fmla="*/ 13 h 30"/>
                <a:gd name="T26" fmla="*/ 61 w 94"/>
                <a:gd name="T27" fmla="*/ 5 h 30"/>
                <a:gd name="T28" fmla="*/ 71 w 94"/>
                <a:gd name="T29"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30">
                  <a:moveTo>
                    <a:pt x="71" y="0"/>
                  </a:moveTo>
                  <a:lnTo>
                    <a:pt x="94" y="7"/>
                  </a:lnTo>
                  <a:lnTo>
                    <a:pt x="88" y="13"/>
                  </a:lnTo>
                  <a:lnTo>
                    <a:pt x="69" y="15"/>
                  </a:lnTo>
                  <a:lnTo>
                    <a:pt x="58" y="19"/>
                  </a:lnTo>
                  <a:lnTo>
                    <a:pt x="56" y="25"/>
                  </a:lnTo>
                  <a:lnTo>
                    <a:pt x="38" y="30"/>
                  </a:lnTo>
                  <a:lnTo>
                    <a:pt x="23" y="21"/>
                  </a:lnTo>
                  <a:lnTo>
                    <a:pt x="33" y="11"/>
                  </a:lnTo>
                  <a:lnTo>
                    <a:pt x="0" y="11"/>
                  </a:lnTo>
                  <a:lnTo>
                    <a:pt x="27" y="5"/>
                  </a:lnTo>
                  <a:lnTo>
                    <a:pt x="48" y="5"/>
                  </a:lnTo>
                  <a:lnTo>
                    <a:pt x="52" y="13"/>
                  </a:lnTo>
                  <a:lnTo>
                    <a:pt x="61" y="5"/>
                  </a:lnTo>
                  <a:lnTo>
                    <a:pt x="71" y="0"/>
                  </a:lnTo>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66" name="Freeform 233">
              <a:extLst>
                <a:ext uri="{FF2B5EF4-FFF2-40B4-BE49-F238E27FC236}">
                  <a16:creationId xmlns:a16="http://schemas.microsoft.com/office/drawing/2014/main" id="{EEEB7AEC-7207-24E0-36B2-4576518DA86F}"/>
                </a:ext>
              </a:extLst>
            </p:cNvPr>
            <p:cNvSpPr>
              <a:spLocks/>
            </p:cNvSpPr>
            <p:nvPr/>
          </p:nvSpPr>
          <p:spPr bwMode="auto">
            <a:xfrm>
              <a:off x="6383338" y="2117699"/>
              <a:ext cx="200025" cy="125470"/>
            </a:xfrm>
            <a:custGeom>
              <a:avLst/>
              <a:gdLst>
                <a:gd name="T0" fmla="*/ 67 w 126"/>
                <a:gd name="T1" fmla="*/ 0 h 79"/>
                <a:gd name="T2" fmla="*/ 94 w 126"/>
                <a:gd name="T3" fmla="*/ 15 h 79"/>
                <a:gd name="T4" fmla="*/ 126 w 126"/>
                <a:gd name="T5" fmla="*/ 46 h 79"/>
                <a:gd name="T6" fmla="*/ 123 w 126"/>
                <a:gd name="T7" fmla="*/ 75 h 79"/>
                <a:gd name="T8" fmla="*/ 92 w 126"/>
                <a:gd name="T9" fmla="*/ 79 h 79"/>
                <a:gd name="T10" fmla="*/ 53 w 126"/>
                <a:gd name="T11" fmla="*/ 69 h 79"/>
                <a:gd name="T12" fmla="*/ 30 w 126"/>
                <a:gd name="T13" fmla="*/ 58 h 79"/>
                <a:gd name="T14" fmla="*/ 21 w 126"/>
                <a:gd name="T15" fmla="*/ 35 h 79"/>
                <a:gd name="T16" fmla="*/ 0 w 126"/>
                <a:gd name="T17" fmla="*/ 29 h 79"/>
                <a:gd name="T18" fmla="*/ 36 w 126"/>
                <a:gd name="T19" fmla="*/ 6 h 79"/>
                <a:gd name="T20" fmla="*/ 67 w 126"/>
                <a:gd name="T21" fmla="*/ 0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6" h="79">
                  <a:moveTo>
                    <a:pt x="67" y="0"/>
                  </a:moveTo>
                  <a:lnTo>
                    <a:pt x="94" y="15"/>
                  </a:lnTo>
                  <a:lnTo>
                    <a:pt x="126" y="46"/>
                  </a:lnTo>
                  <a:lnTo>
                    <a:pt x="123" y="75"/>
                  </a:lnTo>
                  <a:lnTo>
                    <a:pt x="92" y="79"/>
                  </a:lnTo>
                  <a:lnTo>
                    <a:pt x="53" y="69"/>
                  </a:lnTo>
                  <a:lnTo>
                    <a:pt x="30" y="58"/>
                  </a:lnTo>
                  <a:lnTo>
                    <a:pt x="21" y="35"/>
                  </a:lnTo>
                  <a:lnTo>
                    <a:pt x="0" y="29"/>
                  </a:lnTo>
                  <a:lnTo>
                    <a:pt x="36" y="6"/>
                  </a:lnTo>
                  <a:lnTo>
                    <a:pt x="67" y="0"/>
                  </a:lnTo>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67" name="Freeform 235">
              <a:extLst>
                <a:ext uri="{FF2B5EF4-FFF2-40B4-BE49-F238E27FC236}">
                  <a16:creationId xmlns:a16="http://schemas.microsoft.com/office/drawing/2014/main" id="{C37160EB-8721-AFF3-E3BB-F273241E06DC}"/>
                </a:ext>
              </a:extLst>
            </p:cNvPr>
            <p:cNvSpPr>
              <a:spLocks/>
            </p:cNvSpPr>
            <p:nvPr/>
          </p:nvSpPr>
          <p:spPr bwMode="auto">
            <a:xfrm>
              <a:off x="2230439" y="2117699"/>
              <a:ext cx="241300" cy="149292"/>
            </a:xfrm>
            <a:custGeom>
              <a:avLst/>
              <a:gdLst>
                <a:gd name="T0" fmla="*/ 60 w 152"/>
                <a:gd name="T1" fmla="*/ 0 h 94"/>
                <a:gd name="T2" fmla="*/ 77 w 152"/>
                <a:gd name="T3" fmla="*/ 15 h 94"/>
                <a:gd name="T4" fmla="*/ 100 w 152"/>
                <a:gd name="T5" fmla="*/ 23 h 94"/>
                <a:gd name="T6" fmla="*/ 123 w 152"/>
                <a:gd name="T7" fmla="*/ 29 h 94"/>
                <a:gd name="T8" fmla="*/ 135 w 152"/>
                <a:gd name="T9" fmla="*/ 50 h 94"/>
                <a:gd name="T10" fmla="*/ 152 w 152"/>
                <a:gd name="T11" fmla="*/ 62 h 94"/>
                <a:gd name="T12" fmla="*/ 133 w 152"/>
                <a:gd name="T13" fmla="*/ 69 h 94"/>
                <a:gd name="T14" fmla="*/ 106 w 152"/>
                <a:gd name="T15" fmla="*/ 92 h 94"/>
                <a:gd name="T16" fmla="*/ 81 w 152"/>
                <a:gd name="T17" fmla="*/ 94 h 94"/>
                <a:gd name="T18" fmla="*/ 52 w 152"/>
                <a:gd name="T19" fmla="*/ 90 h 94"/>
                <a:gd name="T20" fmla="*/ 39 w 152"/>
                <a:gd name="T21" fmla="*/ 79 h 94"/>
                <a:gd name="T22" fmla="*/ 39 w 152"/>
                <a:gd name="T23" fmla="*/ 67 h 94"/>
                <a:gd name="T24" fmla="*/ 50 w 152"/>
                <a:gd name="T25" fmla="*/ 60 h 94"/>
                <a:gd name="T26" fmla="*/ 23 w 152"/>
                <a:gd name="T27" fmla="*/ 60 h 94"/>
                <a:gd name="T28" fmla="*/ 8 w 152"/>
                <a:gd name="T29" fmla="*/ 50 h 94"/>
                <a:gd name="T30" fmla="*/ 0 w 152"/>
                <a:gd name="T31" fmla="*/ 35 h 94"/>
                <a:gd name="T32" fmla="*/ 10 w 152"/>
                <a:gd name="T33" fmla="*/ 21 h 94"/>
                <a:gd name="T34" fmla="*/ 18 w 152"/>
                <a:gd name="T35" fmla="*/ 12 h 94"/>
                <a:gd name="T36" fmla="*/ 33 w 152"/>
                <a:gd name="T37" fmla="*/ 8 h 94"/>
                <a:gd name="T38" fmla="*/ 27 w 152"/>
                <a:gd name="T39" fmla="*/ 2 h 94"/>
                <a:gd name="T40" fmla="*/ 60 w 152"/>
                <a:gd name="T41" fmla="*/ 0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52" h="94">
                  <a:moveTo>
                    <a:pt x="60" y="0"/>
                  </a:moveTo>
                  <a:lnTo>
                    <a:pt x="77" y="15"/>
                  </a:lnTo>
                  <a:lnTo>
                    <a:pt x="100" y="23"/>
                  </a:lnTo>
                  <a:lnTo>
                    <a:pt x="123" y="29"/>
                  </a:lnTo>
                  <a:lnTo>
                    <a:pt x="135" y="50"/>
                  </a:lnTo>
                  <a:lnTo>
                    <a:pt x="152" y="62"/>
                  </a:lnTo>
                  <a:lnTo>
                    <a:pt x="133" y="69"/>
                  </a:lnTo>
                  <a:lnTo>
                    <a:pt x="106" y="92"/>
                  </a:lnTo>
                  <a:lnTo>
                    <a:pt x="81" y="94"/>
                  </a:lnTo>
                  <a:lnTo>
                    <a:pt x="52" y="90"/>
                  </a:lnTo>
                  <a:lnTo>
                    <a:pt x="39" y="79"/>
                  </a:lnTo>
                  <a:lnTo>
                    <a:pt x="39" y="67"/>
                  </a:lnTo>
                  <a:lnTo>
                    <a:pt x="50" y="60"/>
                  </a:lnTo>
                  <a:lnTo>
                    <a:pt x="23" y="60"/>
                  </a:lnTo>
                  <a:lnTo>
                    <a:pt x="8" y="50"/>
                  </a:lnTo>
                  <a:lnTo>
                    <a:pt x="0" y="35"/>
                  </a:lnTo>
                  <a:lnTo>
                    <a:pt x="10" y="21"/>
                  </a:lnTo>
                  <a:lnTo>
                    <a:pt x="18" y="12"/>
                  </a:lnTo>
                  <a:lnTo>
                    <a:pt x="33" y="8"/>
                  </a:lnTo>
                  <a:lnTo>
                    <a:pt x="27" y="2"/>
                  </a:lnTo>
                  <a:lnTo>
                    <a:pt x="60" y="0"/>
                  </a:lnTo>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68" name="Freeform 237">
              <a:extLst>
                <a:ext uri="{FF2B5EF4-FFF2-40B4-BE49-F238E27FC236}">
                  <a16:creationId xmlns:a16="http://schemas.microsoft.com/office/drawing/2014/main" id="{F280533B-6EEC-2DFA-43FD-921093627FF6}"/>
                </a:ext>
              </a:extLst>
            </p:cNvPr>
            <p:cNvSpPr>
              <a:spLocks/>
            </p:cNvSpPr>
            <p:nvPr/>
          </p:nvSpPr>
          <p:spPr bwMode="auto">
            <a:xfrm>
              <a:off x="2339976" y="2011289"/>
              <a:ext cx="661988" cy="354173"/>
            </a:xfrm>
            <a:custGeom>
              <a:avLst/>
              <a:gdLst>
                <a:gd name="T0" fmla="*/ 292 w 417"/>
                <a:gd name="T1" fmla="*/ 2 h 223"/>
                <a:gd name="T2" fmla="*/ 359 w 417"/>
                <a:gd name="T3" fmla="*/ 6 h 223"/>
                <a:gd name="T4" fmla="*/ 417 w 417"/>
                <a:gd name="T5" fmla="*/ 19 h 223"/>
                <a:gd name="T6" fmla="*/ 380 w 417"/>
                <a:gd name="T7" fmla="*/ 44 h 223"/>
                <a:gd name="T8" fmla="*/ 334 w 417"/>
                <a:gd name="T9" fmla="*/ 58 h 223"/>
                <a:gd name="T10" fmla="*/ 330 w 417"/>
                <a:gd name="T11" fmla="*/ 79 h 223"/>
                <a:gd name="T12" fmla="*/ 284 w 417"/>
                <a:gd name="T13" fmla="*/ 113 h 223"/>
                <a:gd name="T14" fmla="*/ 248 w 417"/>
                <a:gd name="T15" fmla="*/ 125 h 223"/>
                <a:gd name="T16" fmla="*/ 225 w 417"/>
                <a:gd name="T17" fmla="*/ 130 h 223"/>
                <a:gd name="T18" fmla="*/ 227 w 417"/>
                <a:gd name="T19" fmla="*/ 152 h 223"/>
                <a:gd name="T20" fmla="*/ 192 w 417"/>
                <a:gd name="T21" fmla="*/ 171 h 223"/>
                <a:gd name="T22" fmla="*/ 167 w 417"/>
                <a:gd name="T23" fmla="*/ 194 h 223"/>
                <a:gd name="T24" fmla="*/ 190 w 417"/>
                <a:gd name="T25" fmla="*/ 198 h 223"/>
                <a:gd name="T26" fmla="*/ 154 w 417"/>
                <a:gd name="T27" fmla="*/ 223 h 223"/>
                <a:gd name="T28" fmla="*/ 77 w 417"/>
                <a:gd name="T29" fmla="*/ 219 h 223"/>
                <a:gd name="T30" fmla="*/ 31 w 417"/>
                <a:gd name="T31" fmla="*/ 213 h 223"/>
                <a:gd name="T32" fmla="*/ 54 w 417"/>
                <a:gd name="T33" fmla="*/ 194 h 223"/>
                <a:gd name="T34" fmla="*/ 56 w 417"/>
                <a:gd name="T35" fmla="*/ 171 h 223"/>
                <a:gd name="T36" fmla="*/ 73 w 417"/>
                <a:gd name="T37" fmla="*/ 163 h 223"/>
                <a:gd name="T38" fmla="*/ 64 w 417"/>
                <a:gd name="T39" fmla="*/ 146 h 223"/>
                <a:gd name="T40" fmla="*/ 93 w 417"/>
                <a:gd name="T41" fmla="*/ 127 h 223"/>
                <a:gd name="T42" fmla="*/ 66 w 417"/>
                <a:gd name="T43" fmla="*/ 98 h 223"/>
                <a:gd name="T44" fmla="*/ 116 w 417"/>
                <a:gd name="T45" fmla="*/ 104 h 223"/>
                <a:gd name="T46" fmla="*/ 106 w 417"/>
                <a:gd name="T47" fmla="*/ 88 h 223"/>
                <a:gd name="T48" fmla="*/ 33 w 417"/>
                <a:gd name="T49" fmla="*/ 81 h 223"/>
                <a:gd name="T50" fmla="*/ 4 w 417"/>
                <a:gd name="T51" fmla="*/ 56 h 223"/>
                <a:gd name="T52" fmla="*/ 22 w 417"/>
                <a:gd name="T53" fmla="*/ 38 h 223"/>
                <a:gd name="T54" fmla="*/ 66 w 417"/>
                <a:gd name="T55" fmla="*/ 31 h 223"/>
                <a:gd name="T56" fmla="*/ 102 w 417"/>
                <a:gd name="T57" fmla="*/ 21 h 223"/>
                <a:gd name="T58" fmla="*/ 129 w 417"/>
                <a:gd name="T59" fmla="*/ 11 h 223"/>
                <a:gd name="T60" fmla="*/ 173 w 417"/>
                <a:gd name="T61" fmla="*/ 4 h 223"/>
                <a:gd name="T62" fmla="*/ 223 w 417"/>
                <a:gd name="T63" fmla="*/ 6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17" h="223">
                  <a:moveTo>
                    <a:pt x="263" y="0"/>
                  </a:moveTo>
                  <a:lnTo>
                    <a:pt x="292" y="2"/>
                  </a:lnTo>
                  <a:lnTo>
                    <a:pt x="323" y="4"/>
                  </a:lnTo>
                  <a:lnTo>
                    <a:pt x="359" y="6"/>
                  </a:lnTo>
                  <a:lnTo>
                    <a:pt x="392" y="11"/>
                  </a:lnTo>
                  <a:lnTo>
                    <a:pt x="417" y="19"/>
                  </a:lnTo>
                  <a:lnTo>
                    <a:pt x="417" y="29"/>
                  </a:lnTo>
                  <a:lnTo>
                    <a:pt x="380" y="44"/>
                  </a:lnTo>
                  <a:lnTo>
                    <a:pt x="348" y="50"/>
                  </a:lnTo>
                  <a:lnTo>
                    <a:pt x="334" y="58"/>
                  </a:lnTo>
                  <a:lnTo>
                    <a:pt x="367" y="58"/>
                  </a:lnTo>
                  <a:lnTo>
                    <a:pt x="330" y="79"/>
                  </a:lnTo>
                  <a:lnTo>
                    <a:pt x="311" y="86"/>
                  </a:lnTo>
                  <a:lnTo>
                    <a:pt x="284" y="113"/>
                  </a:lnTo>
                  <a:lnTo>
                    <a:pt x="256" y="119"/>
                  </a:lnTo>
                  <a:lnTo>
                    <a:pt x="248" y="125"/>
                  </a:lnTo>
                  <a:lnTo>
                    <a:pt x="206" y="129"/>
                  </a:lnTo>
                  <a:lnTo>
                    <a:pt x="225" y="130"/>
                  </a:lnTo>
                  <a:lnTo>
                    <a:pt x="215" y="136"/>
                  </a:lnTo>
                  <a:lnTo>
                    <a:pt x="227" y="152"/>
                  </a:lnTo>
                  <a:lnTo>
                    <a:pt x="213" y="163"/>
                  </a:lnTo>
                  <a:lnTo>
                    <a:pt x="192" y="171"/>
                  </a:lnTo>
                  <a:lnTo>
                    <a:pt x="187" y="184"/>
                  </a:lnTo>
                  <a:lnTo>
                    <a:pt x="167" y="194"/>
                  </a:lnTo>
                  <a:lnTo>
                    <a:pt x="167" y="200"/>
                  </a:lnTo>
                  <a:lnTo>
                    <a:pt x="190" y="198"/>
                  </a:lnTo>
                  <a:lnTo>
                    <a:pt x="192" y="205"/>
                  </a:lnTo>
                  <a:lnTo>
                    <a:pt x="154" y="223"/>
                  </a:lnTo>
                  <a:lnTo>
                    <a:pt x="119" y="215"/>
                  </a:lnTo>
                  <a:lnTo>
                    <a:pt x="77" y="219"/>
                  </a:lnTo>
                  <a:lnTo>
                    <a:pt x="58" y="215"/>
                  </a:lnTo>
                  <a:lnTo>
                    <a:pt x="31" y="213"/>
                  </a:lnTo>
                  <a:lnTo>
                    <a:pt x="29" y="200"/>
                  </a:lnTo>
                  <a:lnTo>
                    <a:pt x="54" y="194"/>
                  </a:lnTo>
                  <a:lnTo>
                    <a:pt x="46" y="171"/>
                  </a:lnTo>
                  <a:lnTo>
                    <a:pt x="56" y="171"/>
                  </a:lnTo>
                  <a:lnTo>
                    <a:pt x="94" y="184"/>
                  </a:lnTo>
                  <a:lnTo>
                    <a:pt x="73" y="163"/>
                  </a:lnTo>
                  <a:lnTo>
                    <a:pt x="52" y="157"/>
                  </a:lnTo>
                  <a:lnTo>
                    <a:pt x="64" y="146"/>
                  </a:lnTo>
                  <a:lnTo>
                    <a:pt x="87" y="138"/>
                  </a:lnTo>
                  <a:lnTo>
                    <a:pt x="93" y="127"/>
                  </a:lnTo>
                  <a:lnTo>
                    <a:pt x="73" y="115"/>
                  </a:lnTo>
                  <a:lnTo>
                    <a:pt x="66" y="98"/>
                  </a:lnTo>
                  <a:lnTo>
                    <a:pt x="104" y="100"/>
                  </a:lnTo>
                  <a:lnTo>
                    <a:pt x="116" y="104"/>
                  </a:lnTo>
                  <a:lnTo>
                    <a:pt x="139" y="92"/>
                  </a:lnTo>
                  <a:lnTo>
                    <a:pt x="106" y="88"/>
                  </a:lnTo>
                  <a:lnTo>
                    <a:pt x="58" y="90"/>
                  </a:lnTo>
                  <a:lnTo>
                    <a:pt x="33" y="81"/>
                  </a:lnTo>
                  <a:lnTo>
                    <a:pt x="22" y="67"/>
                  </a:lnTo>
                  <a:lnTo>
                    <a:pt x="4" y="56"/>
                  </a:lnTo>
                  <a:lnTo>
                    <a:pt x="0" y="44"/>
                  </a:lnTo>
                  <a:lnTo>
                    <a:pt x="22" y="38"/>
                  </a:lnTo>
                  <a:lnTo>
                    <a:pt x="39" y="38"/>
                  </a:lnTo>
                  <a:lnTo>
                    <a:pt x="66" y="31"/>
                  </a:lnTo>
                  <a:lnTo>
                    <a:pt x="85" y="19"/>
                  </a:lnTo>
                  <a:lnTo>
                    <a:pt x="102" y="21"/>
                  </a:lnTo>
                  <a:lnTo>
                    <a:pt x="117" y="29"/>
                  </a:lnTo>
                  <a:lnTo>
                    <a:pt x="129" y="11"/>
                  </a:lnTo>
                  <a:lnTo>
                    <a:pt x="148" y="6"/>
                  </a:lnTo>
                  <a:lnTo>
                    <a:pt x="173" y="4"/>
                  </a:lnTo>
                  <a:lnTo>
                    <a:pt x="215" y="2"/>
                  </a:lnTo>
                  <a:lnTo>
                    <a:pt x="223" y="6"/>
                  </a:lnTo>
                  <a:lnTo>
                    <a:pt x="263" y="0"/>
                  </a:lnTo>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69" name="Freeform 239">
              <a:extLst>
                <a:ext uri="{FF2B5EF4-FFF2-40B4-BE49-F238E27FC236}">
                  <a16:creationId xmlns:a16="http://schemas.microsoft.com/office/drawing/2014/main" id="{73A2096A-5734-8C5C-0423-653E880B7C8E}"/>
                </a:ext>
              </a:extLst>
            </p:cNvPr>
            <p:cNvSpPr>
              <a:spLocks/>
            </p:cNvSpPr>
            <p:nvPr/>
          </p:nvSpPr>
          <p:spPr bwMode="auto">
            <a:xfrm>
              <a:off x="2746375" y="1987465"/>
              <a:ext cx="1352550" cy="995813"/>
            </a:xfrm>
            <a:custGeom>
              <a:avLst/>
              <a:gdLst>
                <a:gd name="T0" fmla="*/ 731 w 852"/>
                <a:gd name="T1" fmla="*/ 30 h 627"/>
                <a:gd name="T2" fmla="*/ 577 w 852"/>
                <a:gd name="T3" fmla="*/ 49 h 627"/>
                <a:gd name="T4" fmla="*/ 675 w 852"/>
                <a:gd name="T5" fmla="*/ 63 h 627"/>
                <a:gd name="T6" fmla="*/ 698 w 852"/>
                <a:gd name="T7" fmla="*/ 84 h 627"/>
                <a:gd name="T8" fmla="*/ 844 w 852"/>
                <a:gd name="T9" fmla="*/ 67 h 627"/>
                <a:gd name="T10" fmla="*/ 786 w 852"/>
                <a:gd name="T11" fmla="*/ 109 h 627"/>
                <a:gd name="T12" fmla="*/ 758 w 852"/>
                <a:gd name="T13" fmla="*/ 140 h 627"/>
                <a:gd name="T14" fmla="*/ 763 w 852"/>
                <a:gd name="T15" fmla="*/ 213 h 627"/>
                <a:gd name="T16" fmla="*/ 746 w 852"/>
                <a:gd name="T17" fmla="*/ 239 h 627"/>
                <a:gd name="T18" fmla="*/ 752 w 852"/>
                <a:gd name="T19" fmla="*/ 289 h 627"/>
                <a:gd name="T20" fmla="*/ 733 w 852"/>
                <a:gd name="T21" fmla="*/ 312 h 627"/>
                <a:gd name="T22" fmla="*/ 710 w 852"/>
                <a:gd name="T23" fmla="*/ 335 h 627"/>
                <a:gd name="T24" fmla="*/ 683 w 852"/>
                <a:gd name="T25" fmla="*/ 335 h 627"/>
                <a:gd name="T26" fmla="*/ 713 w 852"/>
                <a:gd name="T27" fmla="*/ 366 h 627"/>
                <a:gd name="T28" fmla="*/ 683 w 852"/>
                <a:gd name="T29" fmla="*/ 380 h 627"/>
                <a:gd name="T30" fmla="*/ 654 w 852"/>
                <a:gd name="T31" fmla="*/ 397 h 627"/>
                <a:gd name="T32" fmla="*/ 673 w 852"/>
                <a:gd name="T33" fmla="*/ 420 h 627"/>
                <a:gd name="T34" fmla="*/ 577 w 852"/>
                <a:gd name="T35" fmla="*/ 447 h 627"/>
                <a:gd name="T36" fmla="*/ 514 w 852"/>
                <a:gd name="T37" fmla="*/ 499 h 627"/>
                <a:gd name="T38" fmla="*/ 466 w 852"/>
                <a:gd name="T39" fmla="*/ 512 h 627"/>
                <a:gd name="T40" fmla="*/ 454 w 852"/>
                <a:gd name="T41" fmla="*/ 539 h 627"/>
                <a:gd name="T42" fmla="*/ 431 w 852"/>
                <a:gd name="T43" fmla="*/ 589 h 627"/>
                <a:gd name="T44" fmla="*/ 397 w 852"/>
                <a:gd name="T45" fmla="*/ 627 h 627"/>
                <a:gd name="T46" fmla="*/ 335 w 852"/>
                <a:gd name="T47" fmla="*/ 598 h 627"/>
                <a:gd name="T48" fmla="*/ 295 w 852"/>
                <a:gd name="T49" fmla="*/ 537 h 627"/>
                <a:gd name="T50" fmla="*/ 280 w 852"/>
                <a:gd name="T51" fmla="*/ 479 h 627"/>
                <a:gd name="T52" fmla="*/ 303 w 852"/>
                <a:gd name="T53" fmla="*/ 433 h 627"/>
                <a:gd name="T54" fmla="*/ 297 w 852"/>
                <a:gd name="T55" fmla="*/ 412 h 627"/>
                <a:gd name="T56" fmla="*/ 261 w 852"/>
                <a:gd name="T57" fmla="*/ 412 h 627"/>
                <a:gd name="T58" fmla="*/ 278 w 852"/>
                <a:gd name="T59" fmla="*/ 380 h 627"/>
                <a:gd name="T60" fmla="*/ 268 w 852"/>
                <a:gd name="T61" fmla="*/ 364 h 627"/>
                <a:gd name="T62" fmla="*/ 259 w 852"/>
                <a:gd name="T63" fmla="*/ 335 h 627"/>
                <a:gd name="T64" fmla="*/ 224 w 852"/>
                <a:gd name="T65" fmla="*/ 278 h 627"/>
                <a:gd name="T66" fmla="*/ 169 w 852"/>
                <a:gd name="T67" fmla="*/ 239 h 627"/>
                <a:gd name="T68" fmla="*/ 67 w 852"/>
                <a:gd name="T69" fmla="*/ 239 h 627"/>
                <a:gd name="T70" fmla="*/ 63 w 852"/>
                <a:gd name="T71" fmla="*/ 205 h 627"/>
                <a:gd name="T72" fmla="*/ 0 w 852"/>
                <a:gd name="T73" fmla="*/ 182 h 627"/>
                <a:gd name="T74" fmla="*/ 107 w 852"/>
                <a:gd name="T75" fmla="*/ 140 h 627"/>
                <a:gd name="T76" fmla="*/ 86 w 852"/>
                <a:gd name="T77" fmla="*/ 105 h 627"/>
                <a:gd name="T78" fmla="*/ 149 w 852"/>
                <a:gd name="T79" fmla="*/ 65 h 627"/>
                <a:gd name="T80" fmla="*/ 266 w 852"/>
                <a:gd name="T81" fmla="*/ 49 h 627"/>
                <a:gd name="T82" fmla="*/ 353 w 852"/>
                <a:gd name="T83" fmla="*/ 55 h 627"/>
                <a:gd name="T84" fmla="*/ 368 w 852"/>
                <a:gd name="T85" fmla="*/ 49 h 627"/>
                <a:gd name="T86" fmla="*/ 466 w 852"/>
                <a:gd name="T87" fmla="*/ 17 h 6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852" h="627">
                  <a:moveTo>
                    <a:pt x="533" y="0"/>
                  </a:moveTo>
                  <a:lnTo>
                    <a:pt x="644" y="3"/>
                  </a:lnTo>
                  <a:lnTo>
                    <a:pt x="731" y="30"/>
                  </a:lnTo>
                  <a:lnTo>
                    <a:pt x="706" y="44"/>
                  </a:lnTo>
                  <a:lnTo>
                    <a:pt x="652" y="46"/>
                  </a:lnTo>
                  <a:lnTo>
                    <a:pt x="577" y="49"/>
                  </a:lnTo>
                  <a:lnTo>
                    <a:pt x="585" y="57"/>
                  </a:lnTo>
                  <a:lnTo>
                    <a:pt x="635" y="51"/>
                  </a:lnTo>
                  <a:lnTo>
                    <a:pt x="675" y="63"/>
                  </a:lnTo>
                  <a:lnTo>
                    <a:pt x="702" y="53"/>
                  </a:lnTo>
                  <a:lnTo>
                    <a:pt x="713" y="65"/>
                  </a:lnTo>
                  <a:lnTo>
                    <a:pt x="698" y="84"/>
                  </a:lnTo>
                  <a:lnTo>
                    <a:pt x="735" y="71"/>
                  </a:lnTo>
                  <a:lnTo>
                    <a:pt x="802" y="59"/>
                  </a:lnTo>
                  <a:lnTo>
                    <a:pt x="844" y="67"/>
                  </a:lnTo>
                  <a:lnTo>
                    <a:pt x="852" y="80"/>
                  </a:lnTo>
                  <a:lnTo>
                    <a:pt x="794" y="103"/>
                  </a:lnTo>
                  <a:lnTo>
                    <a:pt x="786" y="109"/>
                  </a:lnTo>
                  <a:lnTo>
                    <a:pt x="742" y="117"/>
                  </a:lnTo>
                  <a:lnTo>
                    <a:pt x="775" y="119"/>
                  </a:lnTo>
                  <a:lnTo>
                    <a:pt x="758" y="140"/>
                  </a:lnTo>
                  <a:lnTo>
                    <a:pt x="748" y="161"/>
                  </a:lnTo>
                  <a:lnTo>
                    <a:pt x="748" y="193"/>
                  </a:lnTo>
                  <a:lnTo>
                    <a:pt x="763" y="213"/>
                  </a:lnTo>
                  <a:lnTo>
                    <a:pt x="742" y="215"/>
                  </a:lnTo>
                  <a:lnTo>
                    <a:pt x="719" y="226"/>
                  </a:lnTo>
                  <a:lnTo>
                    <a:pt x="746" y="239"/>
                  </a:lnTo>
                  <a:lnTo>
                    <a:pt x="748" y="264"/>
                  </a:lnTo>
                  <a:lnTo>
                    <a:pt x="735" y="266"/>
                  </a:lnTo>
                  <a:lnTo>
                    <a:pt x="752" y="289"/>
                  </a:lnTo>
                  <a:lnTo>
                    <a:pt x="719" y="291"/>
                  </a:lnTo>
                  <a:lnTo>
                    <a:pt x="736" y="305"/>
                  </a:lnTo>
                  <a:lnTo>
                    <a:pt x="733" y="312"/>
                  </a:lnTo>
                  <a:lnTo>
                    <a:pt x="712" y="316"/>
                  </a:lnTo>
                  <a:lnTo>
                    <a:pt x="694" y="316"/>
                  </a:lnTo>
                  <a:lnTo>
                    <a:pt x="710" y="335"/>
                  </a:lnTo>
                  <a:lnTo>
                    <a:pt x="710" y="341"/>
                  </a:lnTo>
                  <a:lnTo>
                    <a:pt x="710" y="347"/>
                  </a:lnTo>
                  <a:lnTo>
                    <a:pt x="683" y="335"/>
                  </a:lnTo>
                  <a:lnTo>
                    <a:pt x="677" y="343"/>
                  </a:lnTo>
                  <a:lnTo>
                    <a:pt x="696" y="349"/>
                  </a:lnTo>
                  <a:lnTo>
                    <a:pt x="713" y="366"/>
                  </a:lnTo>
                  <a:lnTo>
                    <a:pt x="719" y="385"/>
                  </a:lnTo>
                  <a:lnTo>
                    <a:pt x="694" y="391"/>
                  </a:lnTo>
                  <a:lnTo>
                    <a:pt x="683" y="380"/>
                  </a:lnTo>
                  <a:lnTo>
                    <a:pt x="665" y="366"/>
                  </a:lnTo>
                  <a:lnTo>
                    <a:pt x="671" y="383"/>
                  </a:lnTo>
                  <a:lnTo>
                    <a:pt x="654" y="397"/>
                  </a:lnTo>
                  <a:lnTo>
                    <a:pt x="690" y="397"/>
                  </a:lnTo>
                  <a:lnTo>
                    <a:pt x="710" y="399"/>
                  </a:lnTo>
                  <a:lnTo>
                    <a:pt x="673" y="420"/>
                  </a:lnTo>
                  <a:lnTo>
                    <a:pt x="635" y="439"/>
                  </a:lnTo>
                  <a:lnTo>
                    <a:pt x="594" y="447"/>
                  </a:lnTo>
                  <a:lnTo>
                    <a:pt x="577" y="447"/>
                  </a:lnTo>
                  <a:lnTo>
                    <a:pt x="566" y="456"/>
                  </a:lnTo>
                  <a:lnTo>
                    <a:pt x="545" y="483"/>
                  </a:lnTo>
                  <a:lnTo>
                    <a:pt x="514" y="499"/>
                  </a:lnTo>
                  <a:lnTo>
                    <a:pt x="506" y="499"/>
                  </a:lnTo>
                  <a:lnTo>
                    <a:pt x="487" y="504"/>
                  </a:lnTo>
                  <a:lnTo>
                    <a:pt x="466" y="512"/>
                  </a:lnTo>
                  <a:lnTo>
                    <a:pt x="454" y="524"/>
                  </a:lnTo>
                  <a:lnTo>
                    <a:pt x="454" y="533"/>
                  </a:lnTo>
                  <a:lnTo>
                    <a:pt x="454" y="539"/>
                  </a:lnTo>
                  <a:lnTo>
                    <a:pt x="447" y="554"/>
                  </a:lnTo>
                  <a:lnTo>
                    <a:pt x="426" y="573"/>
                  </a:lnTo>
                  <a:lnTo>
                    <a:pt x="431" y="589"/>
                  </a:lnTo>
                  <a:lnTo>
                    <a:pt x="426" y="606"/>
                  </a:lnTo>
                  <a:lnTo>
                    <a:pt x="418" y="627"/>
                  </a:lnTo>
                  <a:lnTo>
                    <a:pt x="397" y="627"/>
                  </a:lnTo>
                  <a:lnTo>
                    <a:pt x="378" y="612"/>
                  </a:lnTo>
                  <a:lnTo>
                    <a:pt x="349" y="612"/>
                  </a:lnTo>
                  <a:lnTo>
                    <a:pt x="335" y="598"/>
                  </a:lnTo>
                  <a:lnTo>
                    <a:pt x="328" y="577"/>
                  </a:lnTo>
                  <a:lnTo>
                    <a:pt x="303" y="550"/>
                  </a:lnTo>
                  <a:lnTo>
                    <a:pt x="295" y="537"/>
                  </a:lnTo>
                  <a:lnTo>
                    <a:pt x="293" y="518"/>
                  </a:lnTo>
                  <a:lnTo>
                    <a:pt x="274" y="495"/>
                  </a:lnTo>
                  <a:lnTo>
                    <a:pt x="280" y="479"/>
                  </a:lnTo>
                  <a:lnTo>
                    <a:pt x="270" y="472"/>
                  </a:lnTo>
                  <a:lnTo>
                    <a:pt x="284" y="443"/>
                  </a:lnTo>
                  <a:lnTo>
                    <a:pt x="303" y="433"/>
                  </a:lnTo>
                  <a:lnTo>
                    <a:pt x="311" y="424"/>
                  </a:lnTo>
                  <a:lnTo>
                    <a:pt x="312" y="405"/>
                  </a:lnTo>
                  <a:lnTo>
                    <a:pt x="297" y="412"/>
                  </a:lnTo>
                  <a:lnTo>
                    <a:pt x="289" y="418"/>
                  </a:lnTo>
                  <a:lnTo>
                    <a:pt x="278" y="420"/>
                  </a:lnTo>
                  <a:lnTo>
                    <a:pt x="261" y="412"/>
                  </a:lnTo>
                  <a:lnTo>
                    <a:pt x="259" y="395"/>
                  </a:lnTo>
                  <a:lnTo>
                    <a:pt x="264" y="382"/>
                  </a:lnTo>
                  <a:lnTo>
                    <a:pt x="278" y="380"/>
                  </a:lnTo>
                  <a:lnTo>
                    <a:pt x="305" y="387"/>
                  </a:lnTo>
                  <a:lnTo>
                    <a:pt x="284" y="372"/>
                  </a:lnTo>
                  <a:lnTo>
                    <a:pt x="268" y="364"/>
                  </a:lnTo>
                  <a:lnTo>
                    <a:pt x="255" y="368"/>
                  </a:lnTo>
                  <a:lnTo>
                    <a:pt x="243" y="360"/>
                  </a:lnTo>
                  <a:lnTo>
                    <a:pt x="259" y="335"/>
                  </a:lnTo>
                  <a:lnTo>
                    <a:pt x="251" y="328"/>
                  </a:lnTo>
                  <a:lnTo>
                    <a:pt x="241" y="307"/>
                  </a:lnTo>
                  <a:lnTo>
                    <a:pt x="224" y="278"/>
                  </a:lnTo>
                  <a:lnTo>
                    <a:pt x="205" y="268"/>
                  </a:lnTo>
                  <a:lnTo>
                    <a:pt x="205" y="257"/>
                  </a:lnTo>
                  <a:lnTo>
                    <a:pt x="169" y="239"/>
                  </a:lnTo>
                  <a:lnTo>
                    <a:pt x="138" y="239"/>
                  </a:lnTo>
                  <a:lnTo>
                    <a:pt x="101" y="239"/>
                  </a:lnTo>
                  <a:lnTo>
                    <a:pt x="67" y="239"/>
                  </a:lnTo>
                  <a:lnTo>
                    <a:pt x="51" y="232"/>
                  </a:lnTo>
                  <a:lnTo>
                    <a:pt x="27" y="213"/>
                  </a:lnTo>
                  <a:lnTo>
                    <a:pt x="63" y="205"/>
                  </a:lnTo>
                  <a:lnTo>
                    <a:pt x="92" y="203"/>
                  </a:lnTo>
                  <a:lnTo>
                    <a:pt x="32" y="195"/>
                  </a:lnTo>
                  <a:lnTo>
                    <a:pt x="0" y="182"/>
                  </a:lnTo>
                  <a:lnTo>
                    <a:pt x="2" y="170"/>
                  </a:lnTo>
                  <a:lnTo>
                    <a:pt x="55" y="155"/>
                  </a:lnTo>
                  <a:lnTo>
                    <a:pt x="107" y="140"/>
                  </a:lnTo>
                  <a:lnTo>
                    <a:pt x="113" y="130"/>
                  </a:lnTo>
                  <a:lnTo>
                    <a:pt x="74" y="119"/>
                  </a:lnTo>
                  <a:lnTo>
                    <a:pt x="86" y="105"/>
                  </a:lnTo>
                  <a:lnTo>
                    <a:pt x="136" y="84"/>
                  </a:lnTo>
                  <a:lnTo>
                    <a:pt x="155" y="78"/>
                  </a:lnTo>
                  <a:lnTo>
                    <a:pt x="149" y="65"/>
                  </a:lnTo>
                  <a:lnTo>
                    <a:pt x="182" y="55"/>
                  </a:lnTo>
                  <a:lnTo>
                    <a:pt x="226" y="49"/>
                  </a:lnTo>
                  <a:lnTo>
                    <a:pt x="266" y="49"/>
                  </a:lnTo>
                  <a:lnTo>
                    <a:pt x="284" y="59"/>
                  </a:lnTo>
                  <a:lnTo>
                    <a:pt x="320" y="42"/>
                  </a:lnTo>
                  <a:lnTo>
                    <a:pt x="353" y="55"/>
                  </a:lnTo>
                  <a:lnTo>
                    <a:pt x="372" y="57"/>
                  </a:lnTo>
                  <a:lnTo>
                    <a:pt x="401" y="69"/>
                  </a:lnTo>
                  <a:lnTo>
                    <a:pt x="368" y="49"/>
                  </a:lnTo>
                  <a:lnTo>
                    <a:pt x="370" y="34"/>
                  </a:lnTo>
                  <a:lnTo>
                    <a:pt x="418" y="15"/>
                  </a:lnTo>
                  <a:lnTo>
                    <a:pt x="466" y="17"/>
                  </a:lnTo>
                  <a:lnTo>
                    <a:pt x="483" y="2"/>
                  </a:lnTo>
                  <a:lnTo>
                    <a:pt x="533" y="0"/>
                  </a:lnTo>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70" name="Freeform 241">
              <a:extLst>
                <a:ext uri="{FF2B5EF4-FFF2-40B4-BE49-F238E27FC236}">
                  <a16:creationId xmlns:a16="http://schemas.microsoft.com/office/drawing/2014/main" id="{73990ABA-AA9E-015B-B849-248BD08B9A3E}"/>
                </a:ext>
              </a:extLst>
            </p:cNvPr>
            <p:cNvSpPr>
              <a:spLocks/>
            </p:cNvSpPr>
            <p:nvPr/>
          </p:nvSpPr>
          <p:spPr bwMode="auto">
            <a:xfrm>
              <a:off x="665164" y="2973749"/>
              <a:ext cx="39688" cy="22235"/>
            </a:xfrm>
            <a:custGeom>
              <a:avLst/>
              <a:gdLst>
                <a:gd name="T0" fmla="*/ 14 w 25"/>
                <a:gd name="T1" fmla="*/ 0 h 14"/>
                <a:gd name="T2" fmla="*/ 25 w 25"/>
                <a:gd name="T3" fmla="*/ 2 h 14"/>
                <a:gd name="T4" fmla="*/ 25 w 25"/>
                <a:gd name="T5" fmla="*/ 10 h 14"/>
                <a:gd name="T6" fmla="*/ 17 w 25"/>
                <a:gd name="T7" fmla="*/ 14 h 14"/>
                <a:gd name="T8" fmla="*/ 8 w 25"/>
                <a:gd name="T9" fmla="*/ 8 h 14"/>
                <a:gd name="T10" fmla="*/ 0 w 25"/>
                <a:gd name="T11" fmla="*/ 4 h 14"/>
                <a:gd name="T12" fmla="*/ 14 w 25"/>
                <a:gd name="T13" fmla="*/ 0 h 14"/>
              </a:gdLst>
              <a:ahLst/>
              <a:cxnLst>
                <a:cxn ang="0">
                  <a:pos x="T0" y="T1"/>
                </a:cxn>
                <a:cxn ang="0">
                  <a:pos x="T2" y="T3"/>
                </a:cxn>
                <a:cxn ang="0">
                  <a:pos x="T4" y="T5"/>
                </a:cxn>
                <a:cxn ang="0">
                  <a:pos x="T6" y="T7"/>
                </a:cxn>
                <a:cxn ang="0">
                  <a:pos x="T8" y="T9"/>
                </a:cxn>
                <a:cxn ang="0">
                  <a:pos x="T10" y="T11"/>
                </a:cxn>
                <a:cxn ang="0">
                  <a:pos x="T12" y="T13"/>
                </a:cxn>
              </a:cxnLst>
              <a:rect l="0" t="0" r="r" b="b"/>
              <a:pathLst>
                <a:path w="25" h="14">
                  <a:moveTo>
                    <a:pt x="14" y="0"/>
                  </a:moveTo>
                  <a:lnTo>
                    <a:pt x="25" y="2"/>
                  </a:lnTo>
                  <a:lnTo>
                    <a:pt x="25" y="10"/>
                  </a:lnTo>
                  <a:lnTo>
                    <a:pt x="17" y="14"/>
                  </a:lnTo>
                  <a:lnTo>
                    <a:pt x="8" y="8"/>
                  </a:lnTo>
                  <a:lnTo>
                    <a:pt x="0" y="4"/>
                  </a:lnTo>
                  <a:lnTo>
                    <a:pt x="14" y="0"/>
                  </a:lnTo>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71" name="Freeform 243">
              <a:extLst>
                <a:ext uri="{FF2B5EF4-FFF2-40B4-BE49-F238E27FC236}">
                  <a16:creationId xmlns:a16="http://schemas.microsoft.com/office/drawing/2014/main" id="{40601245-8AE7-6672-C2CE-7CD7639ED5FD}"/>
                </a:ext>
              </a:extLst>
            </p:cNvPr>
            <p:cNvSpPr>
              <a:spLocks/>
            </p:cNvSpPr>
            <p:nvPr/>
          </p:nvSpPr>
          <p:spPr bwMode="auto">
            <a:xfrm>
              <a:off x="571501" y="2857808"/>
              <a:ext cx="66675" cy="28588"/>
            </a:xfrm>
            <a:custGeom>
              <a:avLst/>
              <a:gdLst>
                <a:gd name="T0" fmla="*/ 0 w 42"/>
                <a:gd name="T1" fmla="*/ 0 h 18"/>
                <a:gd name="T2" fmla="*/ 7 w 42"/>
                <a:gd name="T3" fmla="*/ 4 h 18"/>
                <a:gd name="T4" fmla="*/ 17 w 42"/>
                <a:gd name="T5" fmla="*/ 2 h 18"/>
                <a:gd name="T6" fmla="*/ 28 w 42"/>
                <a:gd name="T7" fmla="*/ 8 h 18"/>
                <a:gd name="T8" fmla="*/ 42 w 42"/>
                <a:gd name="T9" fmla="*/ 12 h 18"/>
                <a:gd name="T10" fmla="*/ 40 w 42"/>
                <a:gd name="T11" fmla="*/ 12 h 18"/>
                <a:gd name="T12" fmla="*/ 30 w 42"/>
                <a:gd name="T13" fmla="*/ 18 h 18"/>
                <a:gd name="T14" fmla="*/ 21 w 42"/>
                <a:gd name="T15" fmla="*/ 12 h 18"/>
                <a:gd name="T16" fmla="*/ 15 w 42"/>
                <a:gd name="T17" fmla="*/ 10 h 18"/>
                <a:gd name="T18" fmla="*/ 2 w 42"/>
                <a:gd name="T19" fmla="*/ 10 h 18"/>
                <a:gd name="T20" fmla="*/ 0 w 42"/>
                <a:gd name="T21" fmla="*/ 8 h 18"/>
                <a:gd name="T22" fmla="*/ 0 w 42"/>
                <a:gd name="T2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2" h="18">
                  <a:moveTo>
                    <a:pt x="0" y="0"/>
                  </a:moveTo>
                  <a:lnTo>
                    <a:pt x="7" y="4"/>
                  </a:lnTo>
                  <a:lnTo>
                    <a:pt x="17" y="2"/>
                  </a:lnTo>
                  <a:lnTo>
                    <a:pt x="28" y="8"/>
                  </a:lnTo>
                  <a:lnTo>
                    <a:pt x="42" y="12"/>
                  </a:lnTo>
                  <a:lnTo>
                    <a:pt x="40" y="12"/>
                  </a:lnTo>
                  <a:lnTo>
                    <a:pt x="30" y="18"/>
                  </a:lnTo>
                  <a:lnTo>
                    <a:pt x="21" y="12"/>
                  </a:lnTo>
                  <a:lnTo>
                    <a:pt x="15" y="10"/>
                  </a:lnTo>
                  <a:lnTo>
                    <a:pt x="2" y="10"/>
                  </a:lnTo>
                  <a:lnTo>
                    <a:pt x="0" y="8"/>
                  </a:lnTo>
                  <a:lnTo>
                    <a:pt x="0" y="0"/>
                  </a:lnTo>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372" name="Rectangle 371">
            <a:extLst>
              <a:ext uri="{FF2B5EF4-FFF2-40B4-BE49-F238E27FC236}">
                <a16:creationId xmlns:a16="http://schemas.microsoft.com/office/drawing/2014/main" id="{BE9BA5C2-B4F4-9292-5AEE-EC60273288DF}"/>
              </a:ext>
            </a:extLst>
          </p:cNvPr>
          <p:cNvSpPr/>
          <p:nvPr userDrawn="1"/>
        </p:nvSpPr>
        <p:spPr>
          <a:xfrm flipV="1">
            <a:off x="974274" y="3227405"/>
            <a:ext cx="10243456" cy="1245901"/>
          </a:xfrm>
          <a:prstGeom prst="rect">
            <a:avLst/>
          </a:prstGeom>
          <a:gradFill flip="none" rotWithShape="1">
            <a:gsLst>
              <a:gs pos="0">
                <a:schemeClr val="bg1"/>
              </a:gs>
              <a:gs pos="49000">
                <a:schemeClr val="bg1">
                  <a:alpha val="60000"/>
                </a:schemeClr>
              </a:gs>
              <a:gs pos="100000">
                <a:schemeClr val="bg1">
                  <a:alpha val="0"/>
                </a:schemeClr>
              </a:gs>
            </a:gsLst>
            <a:lin ang="16200000" scaled="1"/>
            <a:tileRect/>
          </a:gra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sz="1800"/>
          </a:p>
        </p:txBody>
      </p:sp>
      <p:pic>
        <p:nvPicPr>
          <p:cNvPr id="31" name="Picture 30"/>
          <p:cNvPicPr>
            <a:picLocks noChangeAspect="1"/>
          </p:cNvPicPr>
          <p:nvPr userDrawn="1"/>
        </p:nvPicPr>
        <p:blipFill>
          <a:blip r:embed="rId5" cstate="print">
            <a:extLst>
              <a:ext uri="{28A0092B-C50C-407E-A947-70E740481C1C}">
                <a14:useLocalDpi xmlns:a14="http://schemas.microsoft.com/office/drawing/2010/main" val="0"/>
              </a:ext>
            </a:extLst>
          </a:blip>
          <a:srcRect/>
          <a:stretch/>
        </p:blipFill>
        <p:spPr>
          <a:xfrm>
            <a:off x="4358338" y="0"/>
            <a:ext cx="7833663" cy="1479691"/>
          </a:xfrm>
          <a:prstGeom prst="rect">
            <a:avLst/>
          </a:prstGeom>
        </p:spPr>
      </p:pic>
      <p:sp>
        <p:nvSpPr>
          <p:cNvPr id="55" name="Isosceles Triangle 34">
            <a:extLst>
              <a:ext uri="{FF2B5EF4-FFF2-40B4-BE49-F238E27FC236}">
                <a16:creationId xmlns:a16="http://schemas.microsoft.com/office/drawing/2014/main" id="{E94C9310-F41D-E14E-BD00-755814005A74}"/>
              </a:ext>
            </a:extLst>
          </p:cNvPr>
          <p:cNvSpPr/>
          <p:nvPr userDrawn="1"/>
        </p:nvSpPr>
        <p:spPr>
          <a:xfrm>
            <a:off x="4267200" y="0"/>
            <a:ext cx="7924800" cy="1481584"/>
          </a:xfrm>
          <a:prstGeom prst="triangle">
            <a:avLst>
              <a:gd name="adj" fmla="val 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53" name="Right Triangle 52">
            <a:extLst>
              <a:ext uri="{FF2B5EF4-FFF2-40B4-BE49-F238E27FC236}">
                <a16:creationId xmlns:a16="http://schemas.microsoft.com/office/drawing/2014/main" id="{FB6E33E6-376A-0341-BD75-69AEF908BC54}"/>
              </a:ext>
            </a:extLst>
          </p:cNvPr>
          <p:cNvSpPr/>
          <p:nvPr userDrawn="1"/>
        </p:nvSpPr>
        <p:spPr>
          <a:xfrm rot="5400000">
            <a:off x="3228839" y="-3228841"/>
            <a:ext cx="1479688" cy="7937376"/>
          </a:xfrm>
          <a:prstGeom prst="rtTriangle">
            <a:avLst/>
          </a:prstGeom>
          <a:gradFill flip="none" rotWithShape="1">
            <a:gsLst>
              <a:gs pos="0">
                <a:srgbClr val="3A4254"/>
              </a:gs>
              <a:gs pos="82000">
                <a:srgbClr val="789ABD">
                  <a:alpha val="75000"/>
                </a:srgbClr>
              </a:gs>
              <a:gs pos="53000">
                <a:srgbClr val="6287B3"/>
              </a:gs>
              <a:gs pos="100000">
                <a:srgbClr val="ABC3D6">
                  <a:alpha val="60000"/>
                </a:srgbClr>
              </a:gs>
            </a:gsLst>
            <a:lin ang="12600000" scaled="0"/>
            <a:tileRect/>
          </a:gra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sz="1800"/>
          </a:p>
        </p:txBody>
      </p:sp>
      <p:sp>
        <p:nvSpPr>
          <p:cNvPr id="7" name="Rectangle 6">
            <a:hlinkClick r:id="rId6"/>
          </p:cNvPr>
          <p:cNvSpPr/>
          <p:nvPr userDrawn="1"/>
        </p:nvSpPr>
        <p:spPr>
          <a:xfrm>
            <a:off x="9373415" y="6568882"/>
            <a:ext cx="1307285" cy="194733"/>
          </a:xfrm>
          <a:prstGeom prst="rect">
            <a:avLst/>
          </a:prstGeom>
          <a:noFill/>
          <a:ln>
            <a:noFill/>
          </a:ln>
        </p:spPr>
        <p:style>
          <a:lnRef idx="2">
            <a:schemeClr val="accent1"/>
          </a:lnRef>
          <a:fillRef idx="1">
            <a:schemeClr val="lt1"/>
          </a:fillRef>
          <a:effectRef idx="0">
            <a:schemeClr val="accent1"/>
          </a:effectRef>
          <a:fontRef idx="minor">
            <a:schemeClr val="dk1"/>
          </a:fontRef>
        </p:style>
        <p:txBody>
          <a:bodyPr rtlCol="0" anchor="ctr"/>
          <a:lstStyle/>
          <a:p>
            <a:pPr algn="r"/>
            <a:r>
              <a:rPr lang="en-US" sz="1000" b="0" i="0">
                <a:solidFill>
                  <a:schemeClr val="bg2">
                    <a:lumMod val="65000"/>
                  </a:schemeClr>
                </a:solidFill>
              </a:rPr>
              <a:t>TRINITY</a:t>
            </a:r>
            <a:r>
              <a:rPr lang="en-US" sz="1000" b="0" i="0" baseline="0">
                <a:solidFill>
                  <a:schemeClr val="bg2">
                    <a:lumMod val="65000"/>
                  </a:schemeClr>
                </a:solidFill>
              </a:rPr>
              <a:t>, LLC</a:t>
            </a:r>
            <a:endParaRPr lang="en-US" sz="1000" b="0" i="0">
              <a:solidFill>
                <a:schemeClr val="bg2">
                  <a:lumMod val="65000"/>
                </a:schemeClr>
              </a:solidFill>
            </a:endParaRPr>
          </a:p>
        </p:txBody>
      </p:sp>
      <p:sp>
        <p:nvSpPr>
          <p:cNvPr id="56" name="Title 1"/>
          <p:cNvSpPr>
            <a:spLocks noGrp="1"/>
          </p:cNvSpPr>
          <p:nvPr>
            <p:ph type="ctrTitle" hasCustomPrompt="1"/>
          </p:nvPr>
        </p:nvSpPr>
        <p:spPr>
          <a:xfrm>
            <a:off x="1929251" y="1929170"/>
            <a:ext cx="3504407" cy="220414"/>
          </a:xfrm>
        </p:spPr>
        <p:txBody>
          <a:bodyPr vert="horz" anchor="ctr" anchorCtr="0"/>
          <a:lstStyle>
            <a:lvl1pPr algn="r">
              <a:defRPr sz="1100" b="0" spc="0" baseline="0">
                <a:solidFill>
                  <a:schemeClr val="tx1"/>
                </a:solidFill>
              </a:defRPr>
            </a:lvl1pPr>
          </a:lstStyle>
          <a:p>
            <a:r>
              <a:rPr lang="en-US"/>
              <a:t>Type Name 1, Title</a:t>
            </a:r>
          </a:p>
        </p:txBody>
      </p:sp>
      <p:sp>
        <p:nvSpPr>
          <p:cNvPr id="57" name="Text Placeholder 12"/>
          <p:cNvSpPr>
            <a:spLocks noGrp="1"/>
          </p:cNvSpPr>
          <p:nvPr>
            <p:ph type="body" sz="quarter" idx="10" hasCustomPrompt="1"/>
          </p:nvPr>
        </p:nvSpPr>
        <p:spPr>
          <a:xfrm>
            <a:off x="1929251" y="2161154"/>
            <a:ext cx="3504407" cy="220414"/>
          </a:xfrm>
        </p:spPr>
        <p:txBody>
          <a:bodyPr anchor="ctr">
            <a:noAutofit/>
          </a:bodyPr>
          <a:lstStyle>
            <a:lvl1pPr algn="r">
              <a:buNone/>
              <a:defRPr sz="1100">
                <a:solidFill>
                  <a:schemeClr val="accent1"/>
                </a:solidFill>
              </a:defRPr>
            </a:lvl1pPr>
            <a:lvl2pPr>
              <a:defRPr sz="1200">
                <a:solidFill>
                  <a:schemeClr val="accent2"/>
                </a:solidFill>
              </a:defRPr>
            </a:lvl2pPr>
            <a:lvl3pPr>
              <a:defRPr sz="1200">
                <a:solidFill>
                  <a:schemeClr val="accent2"/>
                </a:solidFill>
              </a:defRPr>
            </a:lvl3pPr>
            <a:lvl4pPr>
              <a:defRPr sz="1200">
                <a:solidFill>
                  <a:schemeClr val="accent2"/>
                </a:solidFill>
              </a:defRPr>
            </a:lvl4pPr>
            <a:lvl5pPr>
              <a:defRPr sz="1200">
                <a:solidFill>
                  <a:schemeClr val="accent2"/>
                </a:solidFill>
              </a:defRPr>
            </a:lvl5pPr>
          </a:lstStyle>
          <a:p>
            <a:pPr lvl="0"/>
            <a:r>
              <a:rPr lang="en-US"/>
              <a:t>Type Email</a:t>
            </a:r>
          </a:p>
        </p:txBody>
      </p:sp>
      <p:sp>
        <p:nvSpPr>
          <p:cNvPr id="58" name="Text Placeholder 12"/>
          <p:cNvSpPr>
            <a:spLocks noGrp="1"/>
          </p:cNvSpPr>
          <p:nvPr>
            <p:ph type="body" sz="quarter" idx="11" hasCustomPrompt="1"/>
          </p:nvPr>
        </p:nvSpPr>
        <p:spPr>
          <a:xfrm>
            <a:off x="1929251" y="2956917"/>
            <a:ext cx="3504407" cy="220414"/>
          </a:xfrm>
        </p:spPr>
        <p:txBody>
          <a:bodyPr anchor="ctr">
            <a:noAutofit/>
          </a:bodyPr>
          <a:lstStyle>
            <a:lvl1pPr algn="r">
              <a:buNone/>
              <a:defRPr sz="1100">
                <a:solidFill>
                  <a:schemeClr val="accent1"/>
                </a:solidFill>
              </a:defRPr>
            </a:lvl1pPr>
            <a:lvl2pPr>
              <a:defRPr sz="1200">
                <a:solidFill>
                  <a:schemeClr val="accent2"/>
                </a:solidFill>
              </a:defRPr>
            </a:lvl2pPr>
            <a:lvl3pPr>
              <a:defRPr sz="1200">
                <a:solidFill>
                  <a:schemeClr val="accent2"/>
                </a:solidFill>
              </a:defRPr>
            </a:lvl3pPr>
            <a:lvl4pPr>
              <a:defRPr sz="1200">
                <a:solidFill>
                  <a:schemeClr val="accent2"/>
                </a:solidFill>
              </a:defRPr>
            </a:lvl4pPr>
            <a:lvl5pPr>
              <a:defRPr sz="1200">
                <a:solidFill>
                  <a:schemeClr val="accent2"/>
                </a:solidFill>
              </a:defRPr>
            </a:lvl5pPr>
          </a:lstStyle>
          <a:p>
            <a:pPr lvl="0"/>
            <a:r>
              <a:rPr lang="en-US"/>
              <a:t>Type Email</a:t>
            </a:r>
          </a:p>
        </p:txBody>
      </p:sp>
      <p:sp>
        <p:nvSpPr>
          <p:cNvPr id="59" name="Text Placeholder 12"/>
          <p:cNvSpPr>
            <a:spLocks noGrp="1"/>
          </p:cNvSpPr>
          <p:nvPr>
            <p:ph type="body" sz="quarter" idx="12" hasCustomPrompt="1"/>
          </p:nvPr>
        </p:nvSpPr>
        <p:spPr>
          <a:xfrm>
            <a:off x="1929251" y="3744054"/>
            <a:ext cx="3504407" cy="220414"/>
          </a:xfrm>
        </p:spPr>
        <p:txBody>
          <a:bodyPr anchor="ctr">
            <a:noAutofit/>
          </a:bodyPr>
          <a:lstStyle>
            <a:lvl1pPr algn="r">
              <a:buNone/>
              <a:defRPr sz="1100">
                <a:solidFill>
                  <a:schemeClr val="accent1"/>
                </a:solidFill>
              </a:defRPr>
            </a:lvl1pPr>
            <a:lvl2pPr>
              <a:defRPr sz="1200">
                <a:solidFill>
                  <a:schemeClr val="accent2"/>
                </a:solidFill>
              </a:defRPr>
            </a:lvl2pPr>
            <a:lvl3pPr>
              <a:defRPr sz="1200">
                <a:solidFill>
                  <a:schemeClr val="accent2"/>
                </a:solidFill>
              </a:defRPr>
            </a:lvl3pPr>
            <a:lvl4pPr>
              <a:defRPr sz="1200">
                <a:solidFill>
                  <a:schemeClr val="accent2"/>
                </a:solidFill>
              </a:defRPr>
            </a:lvl4pPr>
            <a:lvl5pPr>
              <a:defRPr sz="1200">
                <a:solidFill>
                  <a:schemeClr val="accent2"/>
                </a:solidFill>
              </a:defRPr>
            </a:lvl5pPr>
          </a:lstStyle>
          <a:p>
            <a:pPr lvl="0"/>
            <a:r>
              <a:rPr lang="en-US"/>
              <a:t>Type Email</a:t>
            </a:r>
          </a:p>
        </p:txBody>
      </p:sp>
      <p:sp>
        <p:nvSpPr>
          <p:cNvPr id="60" name="Text Placeholder 12"/>
          <p:cNvSpPr>
            <a:spLocks noGrp="1"/>
          </p:cNvSpPr>
          <p:nvPr userDrawn="1">
            <p:ph type="body" sz="quarter" idx="26" hasCustomPrompt="1"/>
          </p:nvPr>
        </p:nvSpPr>
        <p:spPr>
          <a:xfrm>
            <a:off x="1929251" y="4531191"/>
            <a:ext cx="3504407" cy="220414"/>
          </a:xfrm>
        </p:spPr>
        <p:txBody>
          <a:bodyPr anchor="ctr">
            <a:noAutofit/>
          </a:bodyPr>
          <a:lstStyle>
            <a:lvl1pPr algn="r">
              <a:buNone/>
              <a:defRPr sz="1100">
                <a:solidFill>
                  <a:schemeClr val="accent1"/>
                </a:solidFill>
              </a:defRPr>
            </a:lvl1pPr>
            <a:lvl2pPr>
              <a:defRPr sz="1200">
                <a:solidFill>
                  <a:schemeClr val="accent2"/>
                </a:solidFill>
              </a:defRPr>
            </a:lvl2pPr>
            <a:lvl3pPr>
              <a:defRPr sz="1200">
                <a:solidFill>
                  <a:schemeClr val="accent2"/>
                </a:solidFill>
              </a:defRPr>
            </a:lvl3pPr>
            <a:lvl4pPr>
              <a:defRPr sz="1200">
                <a:solidFill>
                  <a:schemeClr val="accent2"/>
                </a:solidFill>
              </a:defRPr>
            </a:lvl4pPr>
            <a:lvl5pPr>
              <a:defRPr sz="1200">
                <a:solidFill>
                  <a:schemeClr val="accent2"/>
                </a:solidFill>
              </a:defRPr>
            </a:lvl5pPr>
          </a:lstStyle>
          <a:p>
            <a:pPr lvl="0"/>
            <a:r>
              <a:rPr lang="en-US"/>
              <a:t>Type Email</a:t>
            </a:r>
          </a:p>
        </p:txBody>
      </p:sp>
      <p:sp>
        <p:nvSpPr>
          <p:cNvPr id="61" name="Text Placeholder 12"/>
          <p:cNvSpPr>
            <a:spLocks noGrp="1"/>
          </p:cNvSpPr>
          <p:nvPr>
            <p:ph type="body" sz="quarter" idx="15" hasCustomPrompt="1"/>
          </p:nvPr>
        </p:nvSpPr>
        <p:spPr>
          <a:xfrm>
            <a:off x="1929251" y="2724933"/>
            <a:ext cx="3504407" cy="220414"/>
          </a:xfrm>
        </p:spPr>
        <p:txBody>
          <a:bodyPr anchor="ctr">
            <a:noAutofit/>
          </a:bodyPr>
          <a:lstStyle>
            <a:lvl1pPr algn="r">
              <a:buNone/>
              <a:defRPr sz="1100">
                <a:solidFill>
                  <a:schemeClr val="tx1"/>
                </a:solidFill>
              </a:defRPr>
            </a:lvl1pPr>
            <a:lvl2pPr>
              <a:defRPr sz="1200">
                <a:solidFill>
                  <a:schemeClr val="accent2"/>
                </a:solidFill>
              </a:defRPr>
            </a:lvl2pPr>
            <a:lvl3pPr>
              <a:defRPr sz="1200">
                <a:solidFill>
                  <a:schemeClr val="accent2"/>
                </a:solidFill>
              </a:defRPr>
            </a:lvl3pPr>
            <a:lvl4pPr>
              <a:defRPr sz="1200">
                <a:solidFill>
                  <a:schemeClr val="accent2"/>
                </a:solidFill>
              </a:defRPr>
            </a:lvl4pPr>
            <a:lvl5pPr>
              <a:defRPr sz="1200">
                <a:solidFill>
                  <a:schemeClr val="accent2"/>
                </a:solidFill>
              </a:defRPr>
            </a:lvl5pPr>
          </a:lstStyle>
          <a:p>
            <a:pPr lvl="0"/>
            <a:r>
              <a:rPr lang="en-US"/>
              <a:t>Type Name 3, Title</a:t>
            </a:r>
          </a:p>
        </p:txBody>
      </p:sp>
      <p:sp>
        <p:nvSpPr>
          <p:cNvPr id="62" name="Text Placeholder 12"/>
          <p:cNvSpPr>
            <a:spLocks noGrp="1"/>
          </p:cNvSpPr>
          <p:nvPr>
            <p:ph type="body" sz="quarter" idx="16" hasCustomPrompt="1"/>
          </p:nvPr>
        </p:nvSpPr>
        <p:spPr>
          <a:xfrm>
            <a:off x="1929251" y="3512070"/>
            <a:ext cx="3504407" cy="220414"/>
          </a:xfrm>
        </p:spPr>
        <p:txBody>
          <a:bodyPr anchor="ctr">
            <a:noAutofit/>
          </a:bodyPr>
          <a:lstStyle>
            <a:lvl1pPr algn="r">
              <a:buNone/>
              <a:defRPr sz="1100">
                <a:solidFill>
                  <a:schemeClr val="tx1"/>
                </a:solidFill>
              </a:defRPr>
            </a:lvl1pPr>
            <a:lvl2pPr>
              <a:defRPr sz="1200">
                <a:solidFill>
                  <a:schemeClr val="accent2"/>
                </a:solidFill>
              </a:defRPr>
            </a:lvl2pPr>
            <a:lvl3pPr>
              <a:defRPr sz="1200">
                <a:solidFill>
                  <a:schemeClr val="accent2"/>
                </a:solidFill>
              </a:defRPr>
            </a:lvl3pPr>
            <a:lvl4pPr>
              <a:defRPr sz="1200">
                <a:solidFill>
                  <a:schemeClr val="accent2"/>
                </a:solidFill>
              </a:defRPr>
            </a:lvl4pPr>
            <a:lvl5pPr>
              <a:defRPr sz="1200">
                <a:solidFill>
                  <a:schemeClr val="accent2"/>
                </a:solidFill>
              </a:defRPr>
            </a:lvl5pPr>
          </a:lstStyle>
          <a:p>
            <a:pPr lvl="0"/>
            <a:r>
              <a:rPr lang="en-US"/>
              <a:t>Type Name 5, Title</a:t>
            </a:r>
          </a:p>
        </p:txBody>
      </p:sp>
      <p:sp>
        <p:nvSpPr>
          <p:cNvPr id="63" name="Text Placeholder 12"/>
          <p:cNvSpPr>
            <a:spLocks noGrp="1"/>
          </p:cNvSpPr>
          <p:nvPr userDrawn="1">
            <p:ph type="body" sz="quarter" idx="27" hasCustomPrompt="1"/>
          </p:nvPr>
        </p:nvSpPr>
        <p:spPr>
          <a:xfrm>
            <a:off x="1929251" y="4299207"/>
            <a:ext cx="3504407" cy="220414"/>
          </a:xfrm>
        </p:spPr>
        <p:txBody>
          <a:bodyPr anchor="ctr">
            <a:noAutofit/>
          </a:bodyPr>
          <a:lstStyle>
            <a:lvl1pPr algn="r">
              <a:buNone/>
              <a:defRPr sz="1100">
                <a:solidFill>
                  <a:schemeClr val="tx1"/>
                </a:solidFill>
              </a:defRPr>
            </a:lvl1pPr>
            <a:lvl2pPr>
              <a:defRPr sz="1200">
                <a:solidFill>
                  <a:schemeClr val="accent2"/>
                </a:solidFill>
              </a:defRPr>
            </a:lvl2pPr>
            <a:lvl3pPr>
              <a:defRPr sz="1200">
                <a:solidFill>
                  <a:schemeClr val="accent2"/>
                </a:solidFill>
              </a:defRPr>
            </a:lvl3pPr>
            <a:lvl4pPr>
              <a:defRPr sz="1200">
                <a:solidFill>
                  <a:schemeClr val="accent2"/>
                </a:solidFill>
              </a:defRPr>
            </a:lvl4pPr>
            <a:lvl5pPr>
              <a:defRPr sz="1200">
                <a:solidFill>
                  <a:schemeClr val="accent2"/>
                </a:solidFill>
              </a:defRPr>
            </a:lvl5pPr>
          </a:lstStyle>
          <a:p>
            <a:pPr lvl="0"/>
            <a:r>
              <a:rPr lang="en-US"/>
              <a:t>Type Name 7, Title</a:t>
            </a:r>
          </a:p>
        </p:txBody>
      </p:sp>
      <p:sp>
        <p:nvSpPr>
          <p:cNvPr id="67" name="Text Placeholder 12"/>
          <p:cNvSpPr>
            <a:spLocks noGrp="1"/>
          </p:cNvSpPr>
          <p:nvPr>
            <p:ph type="body" sz="quarter" idx="28" hasCustomPrompt="1"/>
          </p:nvPr>
        </p:nvSpPr>
        <p:spPr>
          <a:xfrm>
            <a:off x="6806051" y="2161154"/>
            <a:ext cx="3504407" cy="220414"/>
          </a:xfrm>
        </p:spPr>
        <p:txBody>
          <a:bodyPr anchor="ctr">
            <a:noAutofit/>
          </a:bodyPr>
          <a:lstStyle>
            <a:lvl1pPr>
              <a:buNone/>
              <a:defRPr sz="1100">
                <a:solidFill>
                  <a:schemeClr val="accent1"/>
                </a:solidFill>
              </a:defRPr>
            </a:lvl1pPr>
            <a:lvl2pPr>
              <a:defRPr sz="1200">
                <a:solidFill>
                  <a:schemeClr val="accent2"/>
                </a:solidFill>
              </a:defRPr>
            </a:lvl2pPr>
            <a:lvl3pPr>
              <a:defRPr sz="1200">
                <a:solidFill>
                  <a:schemeClr val="accent2"/>
                </a:solidFill>
              </a:defRPr>
            </a:lvl3pPr>
            <a:lvl4pPr>
              <a:defRPr sz="1200">
                <a:solidFill>
                  <a:schemeClr val="accent2"/>
                </a:solidFill>
              </a:defRPr>
            </a:lvl4pPr>
            <a:lvl5pPr>
              <a:defRPr sz="1200">
                <a:solidFill>
                  <a:schemeClr val="accent2"/>
                </a:solidFill>
              </a:defRPr>
            </a:lvl5pPr>
          </a:lstStyle>
          <a:p>
            <a:pPr lvl="0"/>
            <a:r>
              <a:rPr lang="en-US"/>
              <a:t>Type Email</a:t>
            </a:r>
          </a:p>
        </p:txBody>
      </p:sp>
      <p:sp>
        <p:nvSpPr>
          <p:cNvPr id="68" name="Text Placeholder 12"/>
          <p:cNvSpPr>
            <a:spLocks noGrp="1"/>
          </p:cNvSpPr>
          <p:nvPr>
            <p:ph type="body" sz="quarter" idx="29" hasCustomPrompt="1"/>
          </p:nvPr>
        </p:nvSpPr>
        <p:spPr>
          <a:xfrm>
            <a:off x="6806051" y="2956917"/>
            <a:ext cx="3504407" cy="220414"/>
          </a:xfrm>
        </p:spPr>
        <p:txBody>
          <a:bodyPr anchor="ctr">
            <a:noAutofit/>
          </a:bodyPr>
          <a:lstStyle>
            <a:lvl1pPr>
              <a:buNone/>
              <a:defRPr sz="1100">
                <a:solidFill>
                  <a:schemeClr val="accent1"/>
                </a:solidFill>
              </a:defRPr>
            </a:lvl1pPr>
            <a:lvl2pPr>
              <a:defRPr sz="1200">
                <a:solidFill>
                  <a:schemeClr val="accent2"/>
                </a:solidFill>
              </a:defRPr>
            </a:lvl2pPr>
            <a:lvl3pPr>
              <a:defRPr sz="1200">
                <a:solidFill>
                  <a:schemeClr val="accent2"/>
                </a:solidFill>
              </a:defRPr>
            </a:lvl3pPr>
            <a:lvl4pPr>
              <a:defRPr sz="1200">
                <a:solidFill>
                  <a:schemeClr val="accent2"/>
                </a:solidFill>
              </a:defRPr>
            </a:lvl4pPr>
            <a:lvl5pPr>
              <a:defRPr sz="1200">
                <a:solidFill>
                  <a:schemeClr val="accent2"/>
                </a:solidFill>
              </a:defRPr>
            </a:lvl5pPr>
          </a:lstStyle>
          <a:p>
            <a:pPr lvl="0"/>
            <a:r>
              <a:rPr lang="en-US"/>
              <a:t>Type Email</a:t>
            </a:r>
          </a:p>
        </p:txBody>
      </p:sp>
      <p:sp>
        <p:nvSpPr>
          <p:cNvPr id="69" name="Text Placeholder 12"/>
          <p:cNvSpPr>
            <a:spLocks noGrp="1"/>
          </p:cNvSpPr>
          <p:nvPr>
            <p:ph type="body" sz="quarter" idx="30" hasCustomPrompt="1"/>
          </p:nvPr>
        </p:nvSpPr>
        <p:spPr>
          <a:xfrm>
            <a:off x="6806051" y="3744054"/>
            <a:ext cx="3504407" cy="220414"/>
          </a:xfrm>
        </p:spPr>
        <p:txBody>
          <a:bodyPr anchor="ctr">
            <a:noAutofit/>
          </a:bodyPr>
          <a:lstStyle>
            <a:lvl1pPr>
              <a:buNone/>
              <a:defRPr sz="1100">
                <a:solidFill>
                  <a:schemeClr val="accent1"/>
                </a:solidFill>
              </a:defRPr>
            </a:lvl1pPr>
            <a:lvl2pPr>
              <a:defRPr sz="1200">
                <a:solidFill>
                  <a:schemeClr val="accent2"/>
                </a:solidFill>
              </a:defRPr>
            </a:lvl2pPr>
            <a:lvl3pPr>
              <a:defRPr sz="1200">
                <a:solidFill>
                  <a:schemeClr val="accent2"/>
                </a:solidFill>
              </a:defRPr>
            </a:lvl3pPr>
            <a:lvl4pPr>
              <a:defRPr sz="1200">
                <a:solidFill>
                  <a:schemeClr val="accent2"/>
                </a:solidFill>
              </a:defRPr>
            </a:lvl4pPr>
            <a:lvl5pPr>
              <a:defRPr sz="1200">
                <a:solidFill>
                  <a:schemeClr val="accent2"/>
                </a:solidFill>
              </a:defRPr>
            </a:lvl5pPr>
          </a:lstStyle>
          <a:p>
            <a:pPr lvl="0"/>
            <a:r>
              <a:rPr lang="en-US"/>
              <a:t>Type Email</a:t>
            </a:r>
          </a:p>
        </p:txBody>
      </p:sp>
      <p:sp>
        <p:nvSpPr>
          <p:cNvPr id="70" name="Text Placeholder 12"/>
          <p:cNvSpPr>
            <a:spLocks noGrp="1"/>
          </p:cNvSpPr>
          <p:nvPr userDrawn="1">
            <p:ph type="body" sz="quarter" idx="31" hasCustomPrompt="1"/>
          </p:nvPr>
        </p:nvSpPr>
        <p:spPr>
          <a:xfrm>
            <a:off x="6806051" y="4531191"/>
            <a:ext cx="3504407" cy="220414"/>
          </a:xfrm>
        </p:spPr>
        <p:txBody>
          <a:bodyPr anchor="ctr">
            <a:noAutofit/>
          </a:bodyPr>
          <a:lstStyle>
            <a:lvl1pPr>
              <a:buNone/>
              <a:defRPr sz="1100">
                <a:solidFill>
                  <a:schemeClr val="accent1"/>
                </a:solidFill>
              </a:defRPr>
            </a:lvl1pPr>
            <a:lvl2pPr>
              <a:defRPr sz="1200">
                <a:solidFill>
                  <a:schemeClr val="accent2"/>
                </a:solidFill>
              </a:defRPr>
            </a:lvl2pPr>
            <a:lvl3pPr>
              <a:defRPr sz="1200">
                <a:solidFill>
                  <a:schemeClr val="accent2"/>
                </a:solidFill>
              </a:defRPr>
            </a:lvl3pPr>
            <a:lvl4pPr>
              <a:defRPr sz="1200">
                <a:solidFill>
                  <a:schemeClr val="accent2"/>
                </a:solidFill>
              </a:defRPr>
            </a:lvl4pPr>
            <a:lvl5pPr>
              <a:defRPr sz="1200">
                <a:solidFill>
                  <a:schemeClr val="accent2"/>
                </a:solidFill>
              </a:defRPr>
            </a:lvl5pPr>
          </a:lstStyle>
          <a:p>
            <a:pPr lvl="0"/>
            <a:r>
              <a:rPr lang="en-US"/>
              <a:t>Type Email</a:t>
            </a:r>
          </a:p>
        </p:txBody>
      </p:sp>
      <p:sp>
        <p:nvSpPr>
          <p:cNvPr id="71" name="Text Placeholder 12"/>
          <p:cNvSpPr>
            <a:spLocks noGrp="1"/>
          </p:cNvSpPr>
          <p:nvPr>
            <p:ph type="body" sz="quarter" idx="32" hasCustomPrompt="1"/>
          </p:nvPr>
        </p:nvSpPr>
        <p:spPr>
          <a:xfrm>
            <a:off x="6806051" y="2724933"/>
            <a:ext cx="3504407" cy="220414"/>
          </a:xfrm>
        </p:spPr>
        <p:txBody>
          <a:bodyPr anchor="ctr">
            <a:noAutofit/>
          </a:bodyPr>
          <a:lstStyle>
            <a:lvl1pPr>
              <a:buNone/>
              <a:defRPr sz="1100">
                <a:solidFill>
                  <a:schemeClr val="tx1"/>
                </a:solidFill>
              </a:defRPr>
            </a:lvl1pPr>
            <a:lvl2pPr>
              <a:defRPr sz="1200">
                <a:solidFill>
                  <a:schemeClr val="accent2"/>
                </a:solidFill>
              </a:defRPr>
            </a:lvl2pPr>
            <a:lvl3pPr>
              <a:defRPr sz="1200">
                <a:solidFill>
                  <a:schemeClr val="accent2"/>
                </a:solidFill>
              </a:defRPr>
            </a:lvl3pPr>
            <a:lvl4pPr>
              <a:defRPr sz="1200">
                <a:solidFill>
                  <a:schemeClr val="accent2"/>
                </a:solidFill>
              </a:defRPr>
            </a:lvl4pPr>
            <a:lvl5pPr>
              <a:defRPr sz="1200">
                <a:solidFill>
                  <a:schemeClr val="accent2"/>
                </a:solidFill>
              </a:defRPr>
            </a:lvl5pPr>
          </a:lstStyle>
          <a:p>
            <a:pPr lvl="0"/>
            <a:r>
              <a:rPr lang="en-US"/>
              <a:t>Type Name 4, Title</a:t>
            </a:r>
          </a:p>
        </p:txBody>
      </p:sp>
      <p:sp>
        <p:nvSpPr>
          <p:cNvPr id="72" name="Text Placeholder 12"/>
          <p:cNvSpPr>
            <a:spLocks noGrp="1"/>
          </p:cNvSpPr>
          <p:nvPr>
            <p:ph type="body" sz="quarter" idx="33" hasCustomPrompt="1"/>
          </p:nvPr>
        </p:nvSpPr>
        <p:spPr>
          <a:xfrm>
            <a:off x="6806051" y="3512070"/>
            <a:ext cx="3504407" cy="220414"/>
          </a:xfrm>
        </p:spPr>
        <p:txBody>
          <a:bodyPr anchor="ctr">
            <a:noAutofit/>
          </a:bodyPr>
          <a:lstStyle>
            <a:lvl1pPr>
              <a:buNone/>
              <a:defRPr sz="1100">
                <a:solidFill>
                  <a:schemeClr val="tx1"/>
                </a:solidFill>
              </a:defRPr>
            </a:lvl1pPr>
            <a:lvl2pPr>
              <a:defRPr sz="1200">
                <a:solidFill>
                  <a:schemeClr val="accent2"/>
                </a:solidFill>
              </a:defRPr>
            </a:lvl2pPr>
            <a:lvl3pPr>
              <a:defRPr sz="1200">
                <a:solidFill>
                  <a:schemeClr val="accent2"/>
                </a:solidFill>
              </a:defRPr>
            </a:lvl3pPr>
            <a:lvl4pPr>
              <a:defRPr sz="1200">
                <a:solidFill>
                  <a:schemeClr val="accent2"/>
                </a:solidFill>
              </a:defRPr>
            </a:lvl4pPr>
            <a:lvl5pPr>
              <a:defRPr sz="1200">
                <a:solidFill>
                  <a:schemeClr val="accent2"/>
                </a:solidFill>
              </a:defRPr>
            </a:lvl5pPr>
          </a:lstStyle>
          <a:p>
            <a:pPr lvl="0"/>
            <a:r>
              <a:rPr lang="en-US"/>
              <a:t>Type Name 6, Title</a:t>
            </a:r>
          </a:p>
        </p:txBody>
      </p:sp>
      <p:sp>
        <p:nvSpPr>
          <p:cNvPr id="73" name="Text Placeholder 12"/>
          <p:cNvSpPr>
            <a:spLocks noGrp="1"/>
          </p:cNvSpPr>
          <p:nvPr userDrawn="1">
            <p:ph type="body" sz="quarter" idx="34" hasCustomPrompt="1"/>
          </p:nvPr>
        </p:nvSpPr>
        <p:spPr>
          <a:xfrm>
            <a:off x="6806051" y="4299207"/>
            <a:ext cx="3504407" cy="220414"/>
          </a:xfrm>
        </p:spPr>
        <p:txBody>
          <a:bodyPr anchor="ctr">
            <a:noAutofit/>
          </a:bodyPr>
          <a:lstStyle>
            <a:lvl1pPr>
              <a:buNone/>
              <a:defRPr sz="1100">
                <a:solidFill>
                  <a:schemeClr val="tx1"/>
                </a:solidFill>
              </a:defRPr>
            </a:lvl1pPr>
            <a:lvl2pPr>
              <a:defRPr sz="1200">
                <a:solidFill>
                  <a:schemeClr val="accent2"/>
                </a:solidFill>
              </a:defRPr>
            </a:lvl2pPr>
            <a:lvl3pPr>
              <a:defRPr sz="1200">
                <a:solidFill>
                  <a:schemeClr val="accent2"/>
                </a:solidFill>
              </a:defRPr>
            </a:lvl3pPr>
            <a:lvl4pPr>
              <a:defRPr sz="1200">
                <a:solidFill>
                  <a:schemeClr val="accent2"/>
                </a:solidFill>
              </a:defRPr>
            </a:lvl4pPr>
            <a:lvl5pPr>
              <a:defRPr sz="1200">
                <a:solidFill>
                  <a:schemeClr val="accent2"/>
                </a:solidFill>
              </a:defRPr>
            </a:lvl5pPr>
          </a:lstStyle>
          <a:p>
            <a:pPr lvl="0"/>
            <a:r>
              <a:rPr lang="en-US"/>
              <a:t>Type Name 8, Title</a:t>
            </a:r>
          </a:p>
        </p:txBody>
      </p:sp>
      <p:sp>
        <p:nvSpPr>
          <p:cNvPr id="75" name="Text Placeholder 12"/>
          <p:cNvSpPr>
            <a:spLocks noGrp="1"/>
          </p:cNvSpPr>
          <p:nvPr>
            <p:ph type="body" sz="quarter" idx="35" hasCustomPrompt="1"/>
          </p:nvPr>
        </p:nvSpPr>
        <p:spPr>
          <a:xfrm>
            <a:off x="6806051" y="1929170"/>
            <a:ext cx="3504407" cy="220414"/>
          </a:xfrm>
        </p:spPr>
        <p:txBody>
          <a:bodyPr anchor="ctr">
            <a:noAutofit/>
          </a:bodyPr>
          <a:lstStyle>
            <a:lvl1pPr>
              <a:buNone/>
              <a:defRPr sz="1100">
                <a:solidFill>
                  <a:schemeClr val="tx1"/>
                </a:solidFill>
              </a:defRPr>
            </a:lvl1pPr>
            <a:lvl2pPr>
              <a:defRPr sz="1200">
                <a:solidFill>
                  <a:schemeClr val="accent2"/>
                </a:solidFill>
              </a:defRPr>
            </a:lvl2pPr>
            <a:lvl3pPr>
              <a:defRPr sz="1200">
                <a:solidFill>
                  <a:schemeClr val="accent2"/>
                </a:solidFill>
              </a:defRPr>
            </a:lvl3pPr>
            <a:lvl4pPr>
              <a:defRPr sz="1200">
                <a:solidFill>
                  <a:schemeClr val="accent2"/>
                </a:solidFill>
              </a:defRPr>
            </a:lvl4pPr>
            <a:lvl5pPr>
              <a:defRPr sz="1200">
                <a:solidFill>
                  <a:schemeClr val="accent2"/>
                </a:solidFill>
              </a:defRPr>
            </a:lvl5pPr>
          </a:lstStyle>
          <a:p>
            <a:pPr lvl="0"/>
            <a:r>
              <a:rPr lang="en-US"/>
              <a:t>Type Name 2, Title</a:t>
            </a:r>
          </a:p>
        </p:txBody>
      </p:sp>
      <p:sp>
        <p:nvSpPr>
          <p:cNvPr id="51" name="Rectangle 50">
            <a:hlinkClick r:id="rId6"/>
          </p:cNvPr>
          <p:cNvSpPr/>
          <p:nvPr userDrawn="1"/>
        </p:nvSpPr>
        <p:spPr>
          <a:xfrm>
            <a:off x="1101343" y="6568881"/>
            <a:ext cx="2414291" cy="194734"/>
          </a:xfrm>
          <a:prstGeom prst="rect">
            <a:avLst/>
          </a:prstGeom>
          <a:noFill/>
          <a:ln>
            <a:noFill/>
          </a:ln>
        </p:spPr>
        <p:style>
          <a:lnRef idx="2">
            <a:schemeClr val="accent1"/>
          </a:lnRef>
          <a:fillRef idx="1">
            <a:schemeClr val="lt1"/>
          </a:fillRef>
          <a:effectRef idx="0">
            <a:schemeClr val="accent1"/>
          </a:effectRef>
          <a:fontRef idx="minor">
            <a:schemeClr val="dk1"/>
          </a:fontRef>
        </p:style>
        <p:txBody>
          <a:bodyPr rtlCol="0" anchor="ctr"/>
          <a:lstStyle/>
          <a:p>
            <a:pPr algn="l"/>
            <a:r>
              <a:rPr lang="en-US" sz="900" b="0" i="0">
                <a:solidFill>
                  <a:schemeClr val="bg1">
                    <a:lumMod val="65000"/>
                  </a:schemeClr>
                </a:solidFill>
              </a:rPr>
              <a:t>TRINITYLIFESCIENCES.COM</a:t>
            </a:r>
          </a:p>
        </p:txBody>
      </p:sp>
      <p:pic>
        <p:nvPicPr>
          <p:cNvPr id="64" name="Graphic 63">
            <a:extLst>
              <a:ext uri="{FF2B5EF4-FFF2-40B4-BE49-F238E27FC236}">
                <a16:creationId xmlns:a16="http://schemas.microsoft.com/office/drawing/2014/main" id="{4771A41E-A1E1-4434-B8EA-22E5F4F82DDD}"/>
              </a:ext>
            </a:extLst>
          </p:cNvPr>
          <p:cNvPicPr>
            <a:picLocks noChangeAspect="1"/>
          </p:cNvPicPr>
          <p:nvPr userDrawn="1"/>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4481372" y="788108"/>
            <a:ext cx="3229256" cy="777414"/>
          </a:xfrm>
          <a:prstGeom prst="rect">
            <a:avLst/>
          </a:prstGeom>
        </p:spPr>
      </p:pic>
      <p:pic>
        <p:nvPicPr>
          <p:cNvPr id="87" name="Picture 2" descr="https://blog.twitter.com/sites/all/themes/gazebo/img/twitter-bird-white-on-blue.png">
            <a:hlinkClick r:id="rId9"/>
            <a:extLst>
              <a:ext uri="{FF2B5EF4-FFF2-40B4-BE49-F238E27FC236}">
                <a16:creationId xmlns:a16="http://schemas.microsoft.com/office/drawing/2014/main" id="{49ABFB95-7990-B649-B98E-EBC44641BD1F}"/>
              </a:ext>
            </a:extLst>
          </p:cNvPr>
          <p:cNvPicPr>
            <a:picLocks noChangeAspect="1" noChangeArrowheads="1"/>
          </p:cNvPicPr>
          <p:nvPr userDrawn="1"/>
        </p:nvPicPr>
        <p:blipFill>
          <a:blip r:embed="rId10" cstate="print">
            <a:grayscl/>
            <a:extLst>
              <a:ext uri="{BEBA8EAE-BF5A-486C-A8C5-ECC9F3942E4B}">
                <a14:imgProps xmlns:a14="http://schemas.microsoft.com/office/drawing/2010/main">
                  <a14:imgLayer r:embed="rId11">
                    <a14:imgEffect>
                      <a14:brightnessContrast bright="40000" contrast="40000"/>
                    </a14:imgEffect>
                  </a14:imgLayer>
                </a14:imgProps>
              </a:ext>
              <a:ext uri="{28A0092B-C50C-407E-A947-70E740481C1C}">
                <a14:useLocalDpi xmlns:a14="http://schemas.microsoft.com/office/drawing/2010/main" val="0"/>
              </a:ext>
            </a:extLst>
          </a:blip>
          <a:srcRect/>
          <a:stretch>
            <a:fillRect/>
          </a:stretch>
        </p:blipFill>
        <p:spPr bwMode="auto">
          <a:xfrm>
            <a:off x="10740702" y="6591397"/>
            <a:ext cx="163759" cy="163759"/>
          </a:xfrm>
          <a:prstGeom prst="rect">
            <a:avLst/>
          </a:prstGeom>
          <a:noFill/>
          <a:extLst>
            <a:ext uri="{909E8E84-426E-40DD-AFC4-6F175D3DCCD1}">
              <a14:hiddenFill xmlns:a14="http://schemas.microsoft.com/office/drawing/2010/main">
                <a:solidFill>
                  <a:srgbClr val="FFFFFF"/>
                </a:solidFill>
              </a14:hiddenFill>
            </a:ext>
          </a:extLst>
        </p:spPr>
      </p:pic>
      <p:pic>
        <p:nvPicPr>
          <p:cNvPr id="88" name="Picture 4" descr="Image result for linkedin official logo">
            <a:hlinkClick r:id="rId12"/>
            <a:extLst>
              <a:ext uri="{FF2B5EF4-FFF2-40B4-BE49-F238E27FC236}">
                <a16:creationId xmlns:a16="http://schemas.microsoft.com/office/drawing/2014/main" id="{88CD604B-7B15-B746-9DD6-2FA0BDC908C9}"/>
              </a:ext>
            </a:extLst>
          </p:cNvPr>
          <p:cNvPicPr>
            <a:picLocks noChangeAspect="1" noChangeArrowheads="1"/>
          </p:cNvPicPr>
          <p:nvPr userDrawn="1"/>
        </p:nvPicPr>
        <p:blipFill rotWithShape="1">
          <a:blip r:embed="rId13" cstate="print">
            <a:grayscl/>
            <a:extLst>
              <a:ext uri="{BEBA8EAE-BF5A-486C-A8C5-ECC9F3942E4B}">
                <a14:imgProps xmlns:a14="http://schemas.microsoft.com/office/drawing/2010/main">
                  <a14:imgLayer r:embed="rId14">
                    <a14:imgEffect>
                      <a14:brightnessContrast bright="40000" contrast="40000"/>
                    </a14:imgEffect>
                  </a14:imgLayer>
                </a14:imgProps>
              </a:ext>
              <a:ext uri="{28A0092B-C50C-407E-A947-70E740481C1C}">
                <a14:useLocalDpi xmlns:a14="http://schemas.microsoft.com/office/drawing/2010/main" val="0"/>
              </a:ext>
            </a:extLst>
          </a:blip>
          <a:srcRect l="8067" t="10407" r="10599" b="6547"/>
          <a:stretch/>
        </p:blipFill>
        <p:spPr bwMode="auto">
          <a:xfrm>
            <a:off x="10979559" y="6590564"/>
            <a:ext cx="161198" cy="164592"/>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89" name="Picture 8" descr="https://facebookbrand.com/wp-content/themes/fb-branding/prj-fb-branding/assets/images/fb-art.png">
            <a:hlinkClick r:id="rId15"/>
            <a:extLst>
              <a:ext uri="{FF2B5EF4-FFF2-40B4-BE49-F238E27FC236}">
                <a16:creationId xmlns:a16="http://schemas.microsoft.com/office/drawing/2014/main" id="{50D77134-1206-824B-82B7-5F60A9FD0F17}"/>
              </a:ext>
            </a:extLst>
          </p:cNvPr>
          <p:cNvPicPr>
            <a:picLocks noChangeAspect="1" noChangeArrowheads="1"/>
          </p:cNvPicPr>
          <p:nvPr userDrawn="1"/>
        </p:nvPicPr>
        <p:blipFill rotWithShape="1">
          <a:blip r:embed="rId16" cstate="print">
            <a:grayscl/>
            <a:extLst>
              <a:ext uri="{BEBA8EAE-BF5A-486C-A8C5-ECC9F3942E4B}">
                <a14:imgProps xmlns:a14="http://schemas.microsoft.com/office/drawing/2010/main">
                  <a14:imgLayer r:embed="rId17">
                    <a14:imgEffect>
                      <a14:brightnessContrast bright="40000" contrast="40000"/>
                    </a14:imgEffect>
                  </a14:imgLayer>
                </a14:imgProps>
              </a:ext>
              <a:ext uri="{28A0092B-C50C-407E-A947-70E740481C1C}">
                <a14:useLocalDpi xmlns:a14="http://schemas.microsoft.com/office/drawing/2010/main" val="0"/>
              </a:ext>
            </a:extLst>
          </a:blip>
          <a:srcRect l="7708" t="3031" r="8742" b="7720"/>
          <a:stretch/>
        </p:blipFill>
        <p:spPr bwMode="auto">
          <a:xfrm>
            <a:off x="11215854" y="6590564"/>
            <a:ext cx="154082" cy="164592"/>
          </a:xfrm>
          <a:prstGeom prst="rect">
            <a:avLst/>
          </a:prstGeom>
          <a:noFill/>
          <a:extLst>
            <a:ext uri="{909E8E84-426E-40DD-AFC4-6F175D3DCCD1}">
              <a14:hiddenFill xmlns:a14="http://schemas.microsoft.com/office/drawing/2010/main">
                <a:solidFill>
                  <a:srgbClr val="FFFFFF"/>
                </a:solidFill>
              </a14:hiddenFill>
            </a:ext>
          </a:extLst>
        </p:spPr>
      </p:pic>
      <p:pic>
        <p:nvPicPr>
          <p:cNvPr id="49" name="Graphic 48">
            <a:extLst>
              <a:ext uri="{FF2B5EF4-FFF2-40B4-BE49-F238E27FC236}">
                <a16:creationId xmlns:a16="http://schemas.microsoft.com/office/drawing/2014/main" id="{C1BC4DAE-D695-4420-A09D-C8F6E03B9779}"/>
              </a:ext>
            </a:extLst>
          </p:cNvPr>
          <p:cNvPicPr>
            <a:picLocks noChangeAspect="1"/>
          </p:cNvPicPr>
          <p:nvPr userDrawn="1"/>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151496" y="6405894"/>
            <a:ext cx="152400" cy="330200"/>
          </a:xfrm>
          <a:prstGeom prst="rect">
            <a:avLst/>
          </a:prstGeom>
        </p:spPr>
      </p:pic>
      <p:grpSp>
        <p:nvGrpSpPr>
          <p:cNvPr id="2" name="Group 1">
            <a:extLst>
              <a:ext uri="{FF2B5EF4-FFF2-40B4-BE49-F238E27FC236}">
                <a16:creationId xmlns:a16="http://schemas.microsoft.com/office/drawing/2014/main" id="{662B1A74-FD20-1E30-E399-D162A9D96D51}"/>
              </a:ext>
            </a:extLst>
          </p:cNvPr>
          <p:cNvGrpSpPr/>
          <p:nvPr userDrawn="1"/>
        </p:nvGrpSpPr>
        <p:grpSpPr>
          <a:xfrm>
            <a:off x="367368" y="5725874"/>
            <a:ext cx="951309" cy="341297"/>
            <a:chOff x="367368" y="6371773"/>
            <a:chExt cx="951309" cy="341297"/>
          </a:xfrm>
        </p:grpSpPr>
        <p:sp>
          <p:nvSpPr>
            <p:cNvPr id="3" name="Shape 2452">
              <a:extLst>
                <a:ext uri="{FF2B5EF4-FFF2-40B4-BE49-F238E27FC236}">
                  <a16:creationId xmlns:a16="http://schemas.microsoft.com/office/drawing/2014/main" id="{86D71FA1-8E0E-3962-D0DB-A51197810B8C}"/>
                </a:ext>
              </a:extLst>
            </p:cNvPr>
            <p:cNvSpPr>
              <a:spLocks noChangeAspect="1"/>
            </p:cNvSpPr>
            <p:nvPr userDrawn="1"/>
          </p:nvSpPr>
          <p:spPr>
            <a:xfrm>
              <a:off x="796852" y="6371773"/>
              <a:ext cx="92341" cy="125987"/>
            </a:xfrm>
            <a:custGeom>
              <a:avLst/>
              <a:gdLst/>
              <a:ahLst/>
              <a:cxnLst>
                <a:cxn ang="0">
                  <a:pos x="wd2" y="hd2"/>
                </a:cxn>
                <a:cxn ang="5400000">
                  <a:pos x="wd2" y="hd2"/>
                </a:cxn>
                <a:cxn ang="10800000">
                  <a:pos x="wd2" y="hd2"/>
                </a:cxn>
                <a:cxn ang="16200000">
                  <a:pos x="wd2" y="hd2"/>
                </a:cxn>
              </a:cxnLst>
              <a:rect l="0" t="0" r="r" b="b"/>
              <a:pathLst>
                <a:path w="21600" h="21600" extrusionOk="0">
                  <a:moveTo>
                    <a:pt x="10789" y="0"/>
                  </a:moveTo>
                  <a:cubicBezTo>
                    <a:pt x="4857" y="0"/>
                    <a:pt x="0" y="3511"/>
                    <a:pt x="0" y="7919"/>
                  </a:cubicBezTo>
                  <a:cubicBezTo>
                    <a:pt x="0" y="12264"/>
                    <a:pt x="10789" y="21600"/>
                    <a:pt x="10789" y="21600"/>
                  </a:cubicBezTo>
                  <a:cubicBezTo>
                    <a:pt x="10789" y="21600"/>
                    <a:pt x="21600" y="12280"/>
                    <a:pt x="21600" y="7919"/>
                  </a:cubicBezTo>
                  <a:cubicBezTo>
                    <a:pt x="21600" y="3574"/>
                    <a:pt x="16743" y="0"/>
                    <a:pt x="10789" y="0"/>
                  </a:cubicBezTo>
                </a:path>
              </a:pathLst>
            </a:custGeom>
            <a:solidFill>
              <a:schemeClr val="accent1"/>
            </a:solidFill>
            <a:ln w="3175">
              <a:miter lim="400000"/>
            </a:ln>
          </p:spPr>
          <p:txBody>
            <a:bodyPr lIns="59013" tIns="59013" rIns="59013" bIns="59013" anchor="ctr"/>
            <a:lstStyle/>
            <a:p>
              <a:pPr algn="l" defTabSz="590133">
                <a:lnSpc>
                  <a:spcPct val="93000"/>
                </a:lnSpc>
                <a:defRPr sz="2200">
                  <a:latin typeface="Arial"/>
                  <a:ea typeface="Arial"/>
                  <a:cs typeface="Arial"/>
                  <a:sym typeface="Arial"/>
                </a:defRPr>
              </a:pPr>
              <a:endParaRPr sz="2400" spc="100" baseline="0">
                <a:solidFill>
                  <a:schemeClr val="accent1"/>
                </a:solidFill>
              </a:endParaRPr>
            </a:p>
          </p:txBody>
        </p:sp>
        <p:sp>
          <p:nvSpPr>
            <p:cNvPr id="4" name="TextBox 3">
              <a:extLst>
                <a:ext uri="{FF2B5EF4-FFF2-40B4-BE49-F238E27FC236}">
                  <a16:creationId xmlns:a16="http://schemas.microsoft.com/office/drawing/2014/main" id="{F4C5CF7B-5048-2349-EAD2-6CCD84E67B0F}"/>
                </a:ext>
              </a:extLst>
            </p:cNvPr>
            <p:cNvSpPr txBox="1"/>
            <p:nvPr userDrawn="1"/>
          </p:nvSpPr>
          <p:spPr>
            <a:xfrm>
              <a:off x="367368" y="6574571"/>
              <a:ext cx="951309" cy="138499"/>
            </a:xfrm>
            <a:prstGeom prst="rect">
              <a:avLst/>
            </a:prstGeom>
            <a:noFill/>
          </p:spPr>
          <p:txBody>
            <a:bodyPr vert="horz" wrap="square" lIns="0" tIns="0" rIns="0" bIns="0" rtlCol="0" anchor="t">
              <a:spAutoFit/>
            </a:bodyPr>
            <a:lstStyle/>
            <a:p>
              <a:pPr marL="0" algn="ctr" defTabSz="914400" rtl="0" eaLnBrk="1" latinLnBrk="0" hangingPunct="1"/>
              <a:r>
                <a:rPr lang="en-US" sz="900" b="0" u="none" kern="1200" spc="100" baseline="0">
                  <a:solidFill>
                    <a:schemeClr val="tx1"/>
                  </a:solidFill>
                  <a:latin typeface="+mj-lt"/>
                  <a:ea typeface="+mn-ea"/>
                  <a:cs typeface="Tahoma" pitchFamily="34" charset="0"/>
                </a:rPr>
                <a:t>WALTHAM</a:t>
              </a:r>
            </a:p>
          </p:txBody>
        </p:sp>
      </p:grpSp>
      <p:grpSp>
        <p:nvGrpSpPr>
          <p:cNvPr id="5" name="Group 4">
            <a:extLst>
              <a:ext uri="{FF2B5EF4-FFF2-40B4-BE49-F238E27FC236}">
                <a16:creationId xmlns:a16="http://schemas.microsoft.com/office/drawing/2014/main" id="{C416ED8D-678F-4003-9677-24E1A81CD645}"/>
              </a:ext>
            </a:extLst>
          </p:cNvPr>
          <p:cNvGrpSpPr/>
          <p:nvPr userDrawn="1"/>
        </p:nvGrpSpPr>
        <p:grpSpPr>
          <a:xfrm>
            <a:off x="1419076" y="5725874"/>
            <a:ext cx="951309" cy="341297"/>
            <a:chOff x="1419076" y="6371773"/>
            <a:chExt cx="951309" cy="341297"/>
          </a:xfrm>
        </p:grpSpPr>
        <p:sp>
          <p:nvSpPr>
            <p:cNvPr id="6" name="Shape 2452">
              <a:extLst>
                <a:ext uri="{FF2B5EF4-FFF2-40B4-BE49-F238E27FC236}">
                  <a16:creationId xmlns:a16="http://schemas.microsoft.com/office/drawing/2014/main" id="{2AFBE1BD-A3B9-8727-1A01-2F1111F9E721}"/>
                </a:ext>
              </a:extLst>
            </p:cNvPr>
            <p:cNvSpPr>
              <a:spLocks noChangeAspect="1"/>
            </p:cNvSpPr>
            <p:nvPr userDrawn="1"/>
          </p:nvSpPr>
          <p:spPr>
            <a:xfrm>
              <a:off x="1848560" y="6371773"/>
              <a:ext cx="92341" cy="125987"/>
            </a:xfrm>
            <a:custGeom>
              <a:avLst/>
              <a:gdLst/>
              <a:ahLst/>
              <a:cxnLst>
                <a:cxn ang="0">
                  <a:pos x="wd2" y="hd2"/>
                </a:cxn>
                <a:cxn ang="5400000">
                  <a:pos x="wd2" y="hd2"/>
                </a:cxn>
                <a:cxn ang="10800000">
                  <a:pos x="wd2" y="hd2"/>
                </a:cxn>
                <a:cxn ang="16200000">
                  <a:pos x="wd2" y="hd2"/>
                </a:cxn>
              </a:cxnLst>
              <a:rect l="0" t="0" r="r" b="b"/>
              <a:pathLst>
                <a:path w="21600" h="21600" extrusionOk="0">
                  <a:moveTo>
                    <a:pt x="10789" y="0"/>
                  </a:moveTo>
                  <a:cubicBezTo>
                    <a:pt x="4857" y="0"/>
                    <a:pt x="0" y="3511"/>
                    <a:pt x="0" y="7919"/>
                  </a:cubicBezTo>
                  <a:cubicBezTo>
                    <a:pt x="0" y="12264"/>
                    <a:pt x="10789" y="21600"/>
                    <a:pt x="10789" y="21600"/>
                  </a:cubicBezTo>
                  <a:cubicBezTo>
                    <a:pt x="10789" y="21600"/>
                    <a:pt x="21600" y="12280"/>
                    <a:pt x="21600" y="7919"/>
                  </a:cubicBezTo>
                  <a:cubicBezTo>
                    <a:pt x="21600" y="3574"/>
                    <a:pt x="16743" y="0"/>
                    <a:pt x="10789" y="0"/>
                  </a:cubicBezTo>
                </a:path>
              </a:pathLst>
            </a:custGeom>
            <a:solidFill>
              <a:schemeClr val="accent1"/>
            </a:solidFill>
            <a:ln w="3175">
              <a:miter lim="400000"/>
            </a:ln>
          </p:spPr>
          <p:txBody>
            <a:bodyPr lIns="59013" tIns="59013" rIns="59013" bIns="59013" anchor="ctr"/>
            <a:lstStyle/>
            <a:p>
              <a:pPr algn="l" defTabSz="590133">
                <a:lnSpc>
                  <a:spcPct val="93000"/>
                </a:lnSpc>
                <a:defRPr sz="2200">
                  <a:latin typeface="Arial"/>
                  <a:ea typeface="Arial"/>
                  <a:cs typeface="Arial"/>
                  <a:sym typeface="Arial"/>
                </a:defRPr>
              </a:pPr>
              <a:endParaRPr sz="2400" spc="100" baseline="0">
                <a:solidFill>
                  <a:schemeClr val="accent1"/>
                </a:solidFill>
              </a:endParaRPr>
            </a:p>
          </p:txBody>
        </p:sp>
        <p:sp>
          <p:nvSpPr>
            <p:cNvPr id="8" name="TextBox 7">
              <a:extLst>
                <a:ext uri="{FF2B5EF4-FFF2-40B4-BE49-F238E27FC236}">
                  <a16:creationId xmlns:a16="http://schemas.microsoft.com/office/drawing/2014/main" id="{94DC8B57-1736-DF44-4EF1-AA9E1578AFDD}"/>
                </a:ext>
              </a:extLst>
            </p:cNvPr>
            <p:cNvSpPr txBox="1"/>
            <p:nvPr userDrawn="1"/>
          </p:nvSpPr>
          <p:spPr>
            <a:xfrm>
              <a:off x="1419076" y="6574571"/>
              <a:ext cx="951309" cy="138499"/>
            </a:xfrm>
            <a:prstGeom prst="rect">
              <a:avLst/>
            </a:prstGeom>
            <a:noFill/>
          </p:spPr>
          <p:txBody>
            <a:bodyPr vert="horz" wrap="square" lIns="0" tIns="0" rIns="0" bIns="0" rtlCol="0" anchor="t">
              <a:spAutoFit/>
            </a:bodyPr>
            <a:lstStyle/>
            <a:p>
              <a:pPr marL="0" algn="ctr" defTabSz="914400" rtl="0" eaLnBrk="1" latinLnBrk="0" hangingPunct="1"/>
              <a:r>
                <a:rPr lang="en-US" sz="900" b="0" u="none" kern="1200" spc="100" baseline="0">
                  <a:solidFill>
                    <a:schemeClr val="tx1"/>
                  </a:solidFill>
                  <a:latin typeface="+mj-lt"/>
                  <a:ea typeface="+mn-ea"/>
                  <a:cs typeface="Tahoma" pitchFamily="34" charset="0"/>
                </a:rPr>
                <a:t>CAMBRIDGE</a:t>
              </a:r>
            </a:p>
          </p:txBody>
        </p:sp>
      </p:grpSp>
      <p:grpSp>
        <p:nvGrpSpPr>
          <p:cNvPr id="10" name="Group 9">
            <a:extLst>
              <a:ext uri="{FF2B5EF4-FFF2-40B4-BE49-F238E27FC236}">
                <a16:creationId xmlns:a16="http://schemas.microsoft.com/office/drawing/2014/main" id="{A5B275BD-4520-544E-5290-5330F40C899E}"/>
              </a:ext>
            </a:extLst>
          </p:cNvPr>
          <p:cNvGrpSpPr/>
          <p:nvPr userDrawn="1"/>
        </p:nvGrpSpPr>
        <p:grpSpPr>
          <a:xfrm>
            <a:off x="2470784" y="5725874"/>
            <a:ext cx="951309" cy="341297"/>
            <a:chOff x="2470784" y="6371773"/>
            <a:chExt cx="951309" cy="341297"/>
          </a:xfrm>
        </p:grpSpPr>
        <p:sp>
          <p:nvSpPr>
            <p:cNvPr id="11" name="Shape 2452">
              <a:extLst>
                <a:ext uri="{FF2B5EF4-FFF2-40B4-BE49-F238E27FC236}">
                  <a16:creationId xmlns:a16="http://schemas.microsoft.com/office/drawing/2014/main" id="{0FCBCC48-B311-AC02-DB66-F05789A922D3}"/>
                </a:ext>
              </a:extLst>
            </p:cNvPr>
            <p:cNvSpPr>
              <a:spLocks noChangeAspect="1"/>
            </p:cNvSpPr>
            <p:nvPr userDrawn="1"/>
          </p:nvSpPr>
          <p:spPr>
            <a:xfrm>
              <a:off x="2900268" y="6371773"/>
              <a:ext cx="92341" cy="125987"/>
            </a:xfrm>
            <a:custGeom>
              <a:avLst/>
              <a:gdLst/>
              <a:ahLst/>
              <a:cxnLst>
                <a:cxn ang="0">
                  <a:pos x="wd2" y="hd2"/>
                </a:cxn>
                <a:cxn ang="5400000">
                  <a:pos x="wd2" y="hd2"/>
                </a:cxn>
                <a:cxn ang="10800000">
                  <a:pos x="wd2" y="hd2"/>
                </a:cxn>
                <a:cxn ang="16200000">
                  <a:pos x="wd2" y="hd2"/>
                </a:cxn>
              </a:cxnLst>
              <a:rect l="0" t="0" r="r" b="b"/>
              <a:pathLst>
                <a:path w="21600" h="21600" extrusionOk="0">
                  <a:moveTo>
                    <a:pt x="10789" y="0"/>
                  </a:moveTo>
                  <a:cubicBezTo>
                    <a:pt x="4857" y="0"/>
                    <a:pt x="0" y="3511"/>
                    <a:pt x="0" y="7919"/>
                  </a:cubicBezTo>
                  <a:cubicBezTo>
                    <a:pt x="0" y="12264"/>
                    <a:pt x="10789" y="21600"/>
                    <a:pt x="10789" y="21600"/>
                  </a:cubicBezTo>
                  <a:cubicBezTo>
                    <a:pt x="10789" y="21600"/>
                    <a:pt x="21600" y="12280"/>
                    <a:pt x="21600" y="7919"/>
                  </a:cubicBezTo>
                  <a:cubicBezTo>
                    <a:pt x="21600" y="3574"/>
                    <a:pt x="16743" y="0"/>
                    <a:pt x="10789" y="0"/>
                  </a:cubicBezTo>
                </a:path>
              </a:pathLst>
            </a:custGeom>
            <a:solidFill>
              <a:schemeClr val="accent1"/>
            </a:solidFill>
            <a:ln w="3175">
              <a:miter lim="400000"/>
            </a:ln>
          </p:spPr>
          <p:txBody>
            <a:bodyPr lIns="59013" tIns="59013" rIns="59013" bIns="59013" anchor="ctr"/>
            <a:lstStyle/>
            <a:p>
              <a:pPr algn="l" defTabSz="590133">
                <a:lnSpc>
                  <a:spcPct val="93000"/>
                </a:lnSpc>
                <a:defRPr sz="2200">
                  <a:latin typeface="Arial"/>
                  <a:ea typeface="Arial"/>
                  <a:cs typeface="Arial"/>
                  <a:sym typeface="Arial"/>
                </a:defRPr>
              </a:pPr>
              <a:endParaRPr sz="2400" spc="100" baseline="0">
                <a:solidFill>
                  <a:schemeClr val="accent1"/>
                </a:solidFill>
              </a:endParaRPr>
            </a:p>
          </p:txBody>
        </p:sp>
        <p:sp>
          <p:nvSpPr>
            <p:cNvPr id="12" name="TextBox 11">
              <a:extLst>
                <a:ext uri="{FF2B5EF4-FFF2-40B4-BE49-F238E27FC236}">
                  <a16:creationId xmlns:a16="http://schemas.microsoft.com/office/drawing/2014/main" id="{522ECBC5-D3E8-AC03-A529-5A9A067507C8}"/>
                </a:ext>
              </a:extLst>
            </p:cNvPr>
            <p:cNvSpPr txBox="1"/>
            <p:nvPr userDrawn="1"/>
          </p:nvSpPr>
          <p:spPr>
            <a:xfrm>
              <a:off x="2470784" y="6574571"/>
              <a:ext cx="951309" cy="138499"/>
            </a:xfrm>
            <a:prstGeom prst="rect">
              <a:avLst/>
            </a:prstGeom>
            <a:noFill/>
          </p:spPr>
          <p:txBody>
            <a:bodyPr vert="horz" wrap="square" lIns="0" tIns="0" rIns="0" bIns="0" rtlCol="0" anchor="t">
              <a:spAutoFit/>
            </a:bodyPr>
            <a:lstStyle/>
            <a:p>
              <a:pPr marL="0" algn="ctr" defTabSz="914400" rtl="0" eaLnBrk="1" latinLnBrk="0" hangingPunct="1"/>
              <a:r>
                <a:rPr lang="en-US" sz="900" b="0" u="none" kern="1200" spc="100" baseline="0">
                  <a:solidFill>
                    <a:schemeClr val="tx1"/>
                  </a:solidFill>
                  <a:latin typeface="+mj-lt"/>
                  <a:ea typeface="+mn-ea"/>
                  <a:cs typeface="Tahoma" pitchFamily="34" charset="0"/>
                </a:rPr>
                <a:t>NEW YORK</a:t>
              </a:r>
            </a:p>
          </p:txBody>
        </p:sp>
      </p:grpSp>
      <p:grpSp>
        <p:nvGrpSpPr>
          <p:cNvPr id="13" name="Group 12">
            <a:extLst>
              <a:ext uri="{FF2B5EF4-FFF2-40B4-BE49-F238E27FC236}">
                <a16:creationId xmlns:a16="http://schemas.microsoft.com/office/drawing/2014/main" id="{315D9351-936A-E5DC-C6A1-EB88E29AE077}"/>
              </a:ext>
            </a:extLst>
          </p:cNvPr>
          <p:cNvGrpSpPr/>
          <p:nvPr userDrawn="1"/>
        </p:nvGrpSpPr>
        <p:grpSpPr>
          <a:xfrm>
            <a:off x="5625908" y="5725874"/>
            <a:ext cx="951309" cy="341297"/>
            <a:chOff x="5625908" y="6371773"/>
            <a:chExt cx="951309" cy="341297"/>
          </a:xfrm>
        </p:grpSpPr>
        <p:sp>
          <p:nvSpPr>
            <p:cNvPr id="14" name="Shape 2452">
              <a:extLst>
                <a:ext uri="{FF2B5EF4-FFF2-40B4-BE49-F238E27FC236}">
                  <a16:creationId xmlns:a16="http://schemas.microsoft.com/office/drawing/2014/main" id="{DCD87015-80E8-DF2E-E2D1-D5ED03C0EEC8}"/>
                </a:ext>
              </a:extLst>
            </p:cNvPr>
            <p:cNvSpPr>
              <a:spLocks noChangeAspect="1"/>
            </p:cNvSpPr>
            <p:nvPr userDrawn="1"/>
          </p:nvSpPr>
          <p:spPr>
            <a:xfrm>
              <a:off x="6055392" y="6371773"/>
              <a:ext cx="92341" cy="125987"/>
            </a:xfrm>
            <a:custGeom>
              <a:avLst/>
              <a:gdLst/>
              <a:ahLst/>
              <a:cxnLst>
                <a:cxn ang="0">
                  <a:pos x="wd2" y="hd2"/>
                </a:cxn>
                <a:cxn ang="5400000">
                  <a:pos x="wd2" y="hd2"/>
                </a:cxn>
                <a:cxn ang="10800000">
                  <a:pos x="wd2" y="hd2"/>
                </a:cxn>
                <a:cxn ang="16200000">
                  <a:pos x="wd2" y="hd2"/>
                </a:cxn>
              </a:cxnLst>
              <a:rect l="0" t="0" r="r" b="b"/>
              <a:pathLst>
                <a:path w="21600" h="21600" extrusionOk="0">
                  <a:moveTo>
                    <a:pt x="10789" y="0"/>
                  </a:moveTo>
                  <a:cubicBezTo>
                    <a:pt x="4857" y="0"/>
                    <a:pt x="0" y="3511"/>
                    <a:pt x="0" y="7919"/>
                  </a:cubicBezTo>
                  <a:cubicBezTo>
                    <a:pt x="0" y="12264"/>
                    <a:pt x="10789" y="21600"/>
                    <a:pt x="10789" y="21600"/>
                  </a:cubicBezTo>
                  <a:cubicBezTo>
                    <a:pt x="10789" y="21600"/>
                    <a:pt x="21600" y="12280"/>
                    <a:pt x="21600" y="7919"/>
                  </a:cubicBezTo>
                  <a:cubicBezTo>
                    <a:pt x="21600" y="3574"/>
                    <a:pt x="16743" y="0"/>
                    <a:pt x="10789" y="0"/>
                  </a:cubicBezTo>
                </a:path>
              </a:pathLst>
            </a:custGeom>
            <a:solidFill>
              <a:schemeClr val="accent1"/>
            </a:solidFill>
            <a:ln w="3175">
              <a:miter lim="400000"/>
            </a:ln>
          </p:spPr>
          <p:txBody>
            <a:bodyPr lIns="59013" tIns="59013" rIns="59013" bIns="59013" anchor="ctr"/>
            <a:lstStyle/>
            <a:p>
              <a:pPr algn="l" defTabSz="590133">
                <a:lnSpc>
                  <a:spcPct val="93000"/>
                </a:lnSpc>
                <a:defRPr sz="2200">
                  <a:latin typeface="Arial"/>
                  <a:ea typeface="Arial"/>
                  <a:cs typeface="Arial"/>
                  <a:sym typeface="Arial"/>
                </a:defRPr>
              </a:pPr>
              <a:endParaRPr sz="2400" spc="100" baseline="0">
                <a:solidFill>
                  <a:schemeClr val="accent1"/>
                </a:solidFill>
              </a:endParaRPr>
            </a:p>
          </p:txBody>
        </p:sp>
        <p:sp>
          <p:nvSpPr>
            <p:cNvPr id="15" name="TextBox 14">
              <a:extLst>
                <a:ext uri="{FF2B5EF4-FFF2-40B4-BE49-F238E27FC236}">
                  <a16:creationId xmlns:a16="http://schemas.microsoft.com/office/drawing/2014/main" id="{BF55862B-4FBC-BE1B-D3A7-6C83682322AE}"/>
                </a:ext>
              </a:extLst>
            </p:cNvPr>
            <p:cNvSpPr txBox="1"/>
            <p:nvPr userDrawn="1"/>
          </p:nvSpPr>
          <p:spPr>
            <a:xfrm>
              <a:off x="5625908" y="6574571"/>
              <a:ext cx="951309" cy="138499"/>
            </a:xfrm>
            <a:prstGeom prst="rect">
              <a:avLst/>
            </a:prstGeom>
            <a:noFill/>
          </p:spPr>
          <p:txBody>
            <a:bodyPr vert="horz" wrap="square" lIns="0" tIns="0" rIns="0" bIns="0" rtlCol="0" anchor="t">
              <a:spAutoFit/>
            </a:bodyPr>
            <a:lstStyle/>
            <a:p>
              <a:pPr marL="0" algn="ctr" defTabSz="914400" rtl="0" eaLnBrk="1" latinLnBrk="0" hangingPunct="1"/>
              <a:r>
                <a:rPr lang="en-US" sz="900" b="0" u="none" kern="1200" spc="100" baseline="0">
                  <a:solidFill>
                    <a:schemeClr val="tx1"/>
                  </a:solidFill>
                  <a:latin typeface="+mj-lt"/>
                  <a:ea typeface="+mn-ea"/>
                  <a:cs typeface="Tahoma" pitchFamily="34" charset="0"/>
                </a:rPr>
                <a:t>SAN FRANCISCO</a:t>
              </a:r>
            </a:p>
          </p:txBody>
        </p:sp>
      </p:grpSp>
      <p:grpSp>
        <p:nvGrpSpPr>
          <p:cNvPr id="16" name="Group 15">
            <a:extLst>
              <a:ext uri="{FF2B5EF4-FFF2-40B4-BE49-F238E27FC236}">
                <a16:creationId xmlns:a16="http://schemas.microsoft.com/office/drawing/2014/main" id="{D67F8BAD-7787-76CD-1F3D-25C246732206}"/>
              </a:ext>
            </a:extLst>
          </p:cNvPr>
          <p:cNvGrpSpPr/>
          <p:nvPr userDrawn="1"/>
        </p:nvGrpSpPr>
        <p:grpSpPr>
          <a:xfrm>
            <a:off x="9832740" y="5725874"/>
            <a:ext cx="951309" cy="341297"/>
            <a:chOff x="9832740" y="6371773"/>
            <a:chExt cx="951309" cy="341297"/>
          </a:xfrm>
        </p:grpSpPr>
        <p:sp>
          <p:nvSpPr>
            <p:cNvPr id="17" name="Shape 2452">
              <a:extLst>
                <a:ext uri="{FF2B5EF4-FFF2-40B4-BE49-F238E27FC236}">
                  <a16:creationId xmlns:a16="http://schemas.microsoft.com/office/drawing/2014/main" id="{4C058740-EF42-C809-D6DA-5EA9085BA7EA}"/>
                </a:ext>
              </a:extLst>
            </p:cNvPr>
            <p:cNvSpPr>
              <a:spLocks noChangeAspect="1"/>
            </p:cNvSpPr>
            <p:nvPr userDrawn="1"/>
          </p:nvSpPr>
          <p:spPr>
            <a:xfrm>
              <a:off x="10262224" y="6371773"/>
              <a:ext cx="92341" cy="125987"/>
            </a:xfrm>
            <a:custGeom>
              <a:avLst/>
              <a:gdLst/>
              <a:ahLst/>
              <a:cxnLst>
                <a:cxn ang="0">
                  <a:pos x="wd2" y="hd2"/>
                </a:cxn>
                <a:cxn ang="5400000">
                  <a:pos x="wd2" y="hd2"/>
                </a:cxn>
                <a:cxn ang="10800000">
                  <a:pos x="wd2" y="hd2"/>
                </a:cxn>
                <a:cxn ang="16200000">
                  <a:pos x="wd2" y="hd2"/>
                </a:cxn>
              </a:cxnLst>
              <a:rect l="0" t="0" r="r" b="b"/>
              <a:pathLst>
                <a:path w="21600" h="21600" extrusionOk="0">
                  <a:moveTo>
                    <a:pt x="10789" y="0"/>
                  </a:moveTo>
                  <a:cubicBezTo>
                    <a:pt x="4857" y="0"/>
                    <a:pt x="0" y="3511"/>
                    <a:pt x="0" y="7919"/>
                  </a:cubicBezTo>
                  <a:cubicBezTo>
                    <a:pt x="0" y="12264"/>
                    <a:pt x="10789" y="21600"/>
                    <a:pt x="10789" y="21600"/>
                  </a:cubicBezTo>
                  <a:cubicBezTo>
                    <a:pt x="10789" y="21600"/>
                    <a:pt x="21600" y="12280"/>
                    <a:pt x="21600" y="7919"/>
                  </a:cubicBezTo>
                  <a:cubicBezTo>
                    <a:pt x="21600" y="3574"/>
                    <a:pt x="16743" y="0"/>
                    <a:pt x="10789" y="0"/>
                  </a:cubicBezTo>
                </a:path>
              </a:pathLst>
            </a:custGeom>
            <a:solidFill>
              <a:schemeClr val="accent1"/>
            </a:solidFill>
            <a:ln w="3175">
              <a:miter lim="400000"/>
            </a:ln>
          </p:spPr>
          <p:txBody>
            <a:bodyPr lIns="59013" tIns="59013" rIns="59013" bIns="59013" anchor="ctr"/>
            <a:lstStyle/>
            <a:p>
              <a:pPr algn="l" defTabSz="590133">
                <a:lnSpc>
                  <a:spcPct val="93000"/>
                </a:lnSpc>
                <a:defRPr sz="2200">
                  <a:latin typeface="Arial"/>
                  <a:ea typeface="Arial"/>
                  <a:cs typeface="Arial"/>
                  <a:sym typeface="Arial"/>
                </a:defRPr>
              </a:pPr>
              <a:endParaRPr sz="2400" spc="100" baseline="0">
                <a:solidFill>
                  <a:schemeClr val="accent1"/>
                </a:solidFill>
              </a:endParaRPr>
            </a:p>
          </p:txBody>
        </p:sp>
        <p:sp>
          <p:nvSpPr>
            <p:cNvPr id="18" name="TextBox 17">
              <a:extLst>
                <a:ext uri="{FF2B5EF4-FFF2-40B4-BE49-F238E27FC236}">
                  <a16:creationId xmlns:a16="http://schemas.microsoft.com/office/drawing/2014/main" id="{B8F138E1-A13F-045D-CC73-0760387DB2D6}"/>
                </a:ext>
              </a:extLst>
            </p:cNvPr>
            <p:cNvSpPr txBox="1"/>
            <p:nvPr userDrawn="1"/>
          </p:nvSpPr>
          <p:spPr>
            <a:xfrm>
              <a:off x="9832740" y="6574571"/>
              <a:ext cx="951309" cy="138499"/>
            </a:xfrm>
            <a:prstGeom prst="rect">
              <a:avLst/>
            </a:prstGeom>
            <a:noFill/>
          </p:spPr>
          <p:txBody>
            <a:bodyPr vert="horz" wrap="square" lIns="0" tIns="0" rIns="0" bIns="0" rtlCol="0" anchor="t">
              <a:spAutoFit/>
            </a:bodyPr>
            <a:lstStyle/>
            <a:p>
              <a:pPr marL="0" algn="ctr" defTabSz="914400" rtl="0" eaLnBrk="1" latinLnBrk="0" hangingPunct="1"/>
              <a:r>
                <a:rPr lang="en-US" sz="900" b="0" u="none" kern="1200" spc="100" baseline="0">
                  <a:solidFill>
                    <a:schemeClr val="tx1"/>
                  </a:solidFill>
                  <a:latin typeface="+mj-lt"/>
                  <a:ea typeface="+mn-ea"/>
                  <a:cs typeface="Tahoma" pitchFamily="34" charset="0"/>
                </a:rPr>
                <a:t>BANGALORE</a:t>
              </a:r>
            </a:p>
          </p:txBody>
        </p:sp>
      </p:grpSp>
      <p:grpSp>
        <p:nvGrpSpPr>
          <p:cNvPr id="19" name="Group 18">
            <a:extLst>
              <a:ext uri="{FF2B5EF4-FFF2-40B4-BE49-F238E27FC236}">
                <a16:creationId xmlns:a16="http://schemas.microsoft.com/office/drawing/2014/main" id="{E7D2661B-F29E-DC32-A850-1FCF111C3F06}"/>
              </a:ext>
            </a:extLst>
          </p:cNvPr>
          <p:cNvGrpSpPr/>
          <p:nvPr userDrawn="1"/>
        </p:nvGrpSpPr>
        <p:grpSpPr>
          <a:xfrm>
            <a:off x="7729324" y="5725874"/>
            <a:ext cx="951309" cy="341297"/>
            <a:chOff x="7729324" y="5725874"/>
            <a:chExt cx="951309" cy="341297"/>
          </a:xfrm>
        </p:grpSpPr>
        <p:sp>
          <p:nvSpPr>
            <p:cNvPr id="20" name="TextBox 19">
              <a:extLst>
                <a:ext uri="{FF2B5EF4-FFF2-40B4-BE49-F238E27FC236}">
                  <a16:creationId xmlns:a16="http://schemas.microsoft.com/office/drawing/2014/main" id="{21FBA13A-8615-9F27-8C35-25D91EE88FED}"/>
                </a:ext>
              </a:extLst>
            </p:cNvPr>
            <p:cNvSpPr txBox="1"/>
            <p:nvPr userDrawn="1"/>
          </p:nvSpPr>
          <p:spPr>
            <a:xfrm>
              <a:off x="7729324" y="5928672"/>
              <a:ext cx="951309" cy="138499"/>
            </a:xfrm>
            <a:prstGeom prst="rect">
              <a:avLst/>
            </a:prstGeom>
            <a:noFill/>
          </p:spPr>
          <p:txBody>
            <a:bodyPr vert="horz" wrap="square" lIns="0" tIns="0" rIns="0" bIns="0" rtlCol="0" anchor="t">
              <a:spAutoFit/>
            </a:bodyPr>
            <a:lstStyle/>
            <a:p>
              <a:pPr marL="0" algn="ctr" defTabSz="914400" rtl="0" eaLnBrk="1" latinLnBrk="0" hangingPunct="1"/>
              <a:r>
                <a:rPr lang="en-US" sz="900" b="0" u="none" kern="1200" spc="100" baseline="0">
                  <a:solidFill>
                    <a:schemeClr val="tx1"/>
                  </a:solidFill>
                  <a:latin typeface="+mj-lt"/>
                  <a:ea typeface="+mn-ea"/>
                  <a:cs typeface="Tahoma" pitchFamily="34" charset="0"/>
                </a:rPr>
                <a:t>LONDON</a:t>
              </a:r>
            </a:p>
          </p:txBody>
        </p:sp>
        <p:sp>
          <p:nvSpPr>
            <p:cNvPr id="21" name="Shape 2452">
              <a:extLst>
                <a:ext uri="{FF2B5EF4-FFF2-40B4-BE49-F238E27FC236}">
                  <a16:creationId xmlns:a16="http://schemas.microsoft.com/office/drawing/2014/main" id="{8A9BB947-3A06-78B2-849D-4E6A0051A922}"/>
                </a:ext>
              </a:extLst>
            </p:cNvPr>
            <p:cNvSpPr>
              <a:spLocks noChangeAspect="1"/>
            </p:cNvSpPr>
            <p:nvPr userDrawn="1"/>
          </p:nvSpPr>
          <p:spPr>
            <a:xfrm>
              <a:off x="8158808" y="5725874"/>
              <a:ext cx="92341" cy="125987"/>
            </a:xfrm>
            <a:custGeom>
              <a:avLst/>
              <a:gdLst/>
              <a:ahLst/>
              <a:cxnLst>
                <a:cxn ang="0">
                  <a:pos x="wd2" y="hd2"/>
                </a:cxn>
                <a:cxn ang="5400000">
                  <a:pos x="wd2" y="hd2"/>
                </a:cxn>
                <a:cxn ang="10800000">
                  <a:pos x="wd2" y="hd2"/>
                </a:cxn>
                <a:cxn ang="16200000">
                  <a:pos x="wd2" y="hd2"/>
                </a:cxn>
              </a:cxnLst>
              <a:rect l="0" t="0" r="r" b="b"/>
              <a:pathLst>
                <a:path w="21600" h="21600" extrusionOk="0">
                  <a:moveTo>
                    <a:pt x="10789" y="0"/>
                  </a:moveTo>
                  <a:cubicBezTo>
                    <a:pt x="4857" y="0"/>
                    <a:pt x="0" y="3511"/>
                    <a:pt x="0" y="7919"/>
                  </a:cubicBezTo>
                  <a:cubicBezTo>
                    <a:pt x="0" y="12264"/>
                    <a:pt x="10789" y="21600"/>
                    <a:pt x="10789" y="21600"/>
                  </a:cubicBezTo>
                  <a:cubicBezTo>
                    <a:pt x="10789" y="21600"/>
                    <a:pt x="21600" y="12280"/>
                    <a:pt x="21600" y="7919"/>
                  </a:cubicBezTo>
                  <a:cubicBezTo>
                    <a:pt x="21600" y="3574"/>
                    <a:pt x="16743" y="0"/>
                    <a:pt x="10789" y="0"/>
                  </a:cubicBezTo>
                </a:path>
              </a:pathLst>
            </a:custGeom>
            <a:solidFill>
              <a:schemeClr val="accent1"/>
            </a:solidFill>
            <a:ln w="3175">
              <a:miter lim="400000"/>
            </a:ln>
          </p:spPr>
          <p:txBody>
            <a:bodyPr lIns="59013" tIns="59013" rIns="59013" bIns="59013" anchor="ctr"/>
            <a:lstStyle/>
            <a:p>
              <a:pPr algn="l" defTabSz="590133">
                <a:lnSpc>
                  <a:spcPct val="93000"/>
                </a:lnSpc>
                <a:defRPr sz="2200">
                  <a:latin typeface="Arial"/>
                  <a:ea typeface="Arial"/>
                  <a:cs typeface="Arial"/>
                  <a:sym typeface="Arial"/>
                </a:defRPr>
              </a:pPr>
              <a:endParaRPr sz="2400" spc="100" baseline="0">
                <a:solidFill>
                  <a:schemeClr val="accent1"/>
                </a:solidFill>
              </a:endParaRPr>
            </a:p>
          </p:txBody>
        </p:sp>
      </p:grpSp>
      <p:grpSp>
        <p:nvGrpSpPr>
          <p:cNvPr id="22" name="Group 21">
            <a:extLst>
              <a:ext uri="{FF2B5EF4-FFF2-40B4-BE49-F238E27FC236}">
                <a16:creationId xmlns:a16="http://schemas.microsoft.com/office/drawing/2014/main" id="{4308970F-C9F0-1748-D1AC-4A1B8EC81982}"/>
              </a:ext>
            </a:extLst>
          </p:cNvPr>
          <p:cNvGrpSpPr/>
          <p:nvPr userDrawn="1"/>
        </p:nvGrpSpPr>
        <p:grpSpPr>
          <a:xfrm>
            <a:off x="6677616" y="5725874"/>
            <a:ext cx="951309" cy="341297"/>
            <a:chOff x="6677616" y="5725874"/>
            <a:chExt cx="951309" cy="341297"/>
          </a:xfrm>
        </p:grpSpPr>
        <p:sp>
          <p:nvSpPr>
            <p:cNvPr id="23" name="Shape 2452">
              <a:extLst>
                <a:ext uri="{FF2B5EF4-FFF2-40B4-BE49-F238E27FC236}">
                  <a16:creationId xmlns:a16="http://schemas.microsoft.com/office/drawing/2014/main" id="{359DE768-DD42-09F7-6FF9-F9760E198CE8}"/>
                </a:ext>
              </a:extLst>
            </p:cNvPr>
            <p:cNvSpPr>
              <a:spLocks noChangeAspect="1"/>
            </p:cNvSpPr>
            <p:nvPr userDrawn="1"/>
          </p:nvSpPr>
          <p:spPr>
            <a:xfrm>
              <a:off x="7107100" y="5725874"/>
              <a:ext cx="92341" cy="125987"/>
            </a:xfrm>
            <a:custGeom>
              <a:avLst/>
              <a:gdLst/>
              <a:ahLst/>
              <a:cxnLst>
                <a:cxn ang="0">
                  <a:pos x="wd2" y="hd2"/>
                </a:cxn>
                <a:cxn ang="5400000">
                  <a:pos x="wd2" y="hd2"/>
                </a:cxn>
                <a:cxn ang="10800000">
                  <a:pos x="wd2" y="hd2"/>
                </a:cxn>
                <a:cxn ang="16200000">
                  <a:pos x="wd2" y="hd2"/>
                </a:cxn>
              </a:cxnLst>
              <a:rect l="0" t="0" r="r" b="b"/>
              <a:pathLst>
                <a:path w="21600" h="21600" extrusionOk="0">
                  <a:moveTo>
                    <a:pt x="10789" y="0"/>
                  </a:moveTo>
                  <a:cubicBezTo>
                    <a:pt x="4857" y="0"/>
                    <a:pt x="0" y="3511"/>
                    <a:pt x="0" y="7919"/>
                  </a:cubicBezTo>
                  <a:cubicBezTo>
                    <a:pt x="0" y="12264"/>
                    <a:pt x="10789" y="21600"/>
                    <a:pt x="10789" y="21600"/>
                  </a:cubicBezTo>
                  <a:cubicBezTo>
                    <a:pt x="10789" y="21600"/>
                    <a:pt x="21600" y="12280"/>
                    <a:pt x="21600" y="7919"/>
                  </a:cubicBezTo>
                  <a:cubicBezTo>
                    <a:pt x="21600" y="3574"/>
                    <a:pt x="16743" y="0"/>
                    <a:pt x="10789" y="0"/>
                  </a:cubicBezTo>
                </a:path>
              </a:pathLst>
            </a:custGeom>
            <a:solidFill>
              <a:schemeClr val="accent1"/>
            </a:solidFill>
            <a:ln w="3175">
              <a:miter lim="400000"/>
            </a:ln>
          </p:spPr>
          <p:txBody>
            <a:bodyPr lIns="59013" tIns="59013" rIns="59013" bIns="59013" anchor="ctr"/>
            <a:lstStyle/>
            <a:p>
              <a:pPr algn="l" defTabSz="590133">
                <a:lnSpc>
                  <a:spcPct val="93000"/>
                </a:lnSpc>
                <a:defRPr sz="2200">
                  <a:latin typeface="Arial"/>
                  <a:ea typeface="Arial"/>
                  <a:cs typeface="Arial"/>
                  <a:sym typeface="Arial"/>
                </a:defRPr>
              </a:pPr>
              <a:endParaRPr sz="2400" spc="100" baseline="0">
                <a:solidFill>
                  <a:schemeClr val="accent1"/>
                </a:solidFill>
              </a:endParaRPr>
            </a:p>
          </p:txBody>
        </p:sp>
        <p:sp>
          <p:nvSpPr>
            <p:cNvPr id="24" name="TextBox 23">
              <a:extLst>
                <a:ext uri="{FF2B5EF4-FFF2-40B4-BE49-F238E27FC236}">
                  <a16:creationId xmlns:a16="http://schemas.microsoft.com/office/drawing/2014/main" id="{DD2C8BF1-EF3D-16D3-A57D-4B431A0AB362}"/>
                </a:ext>
              </a:extLst>
            </p:cNvPr>
            <p:cNvSpPr txBox="1"/>
            <p:nvPr userDrawn="1"/>
          </p:nvSpPr>
          <p:spPr>
            <a:xfrm>
              <a:off x="6677616" y="5928672"/>
              <a:ext cx="951309" cy="138499"/>
            </a:xfrm>
            <a:prstGeom prst="rect">
              <a:avLst/>
            </a:prstGeom>
            <a:noFill/>
          </p:spPr>
          <p:txBody>
            <a:bodyPr vert="horz" wrap="square" lIns="0" tIns="0" rIns="0" bIns="0" rtlCol="0" anchor="t">
              <a:spAutoFit/>
            </a:bodyPr>
            <a:lstStyle/>
            <a:p>
              <a:pPr marL="0" algn="ctr" defTabSz="914400" rtl="0" eaLnBrk="1" latinLnBrk="0" hangingPunct="1"/>
              <a:r>
                <a:rPr lang="en-US" sz="900" b="0" u="none" kern="1200" spc="100" baseline="0">
                  <a:solidFill>
                    <a:schemeClr val="tx1"/>
                  </a:solidFill>
                  <a:latin typeface="+mj-lt"/>
                  <a:ea typeface="+mn-ea"/>
                  <a:cs typeface="Tahoma" pitchFamily="34" charset="0"/>
                </a:rPr>
                <a:t>MUNICH</a:t>
              </a:r>
            </a:p>
          </p:txBody>
        </p:sp>
      </p:grpSp>
      <p:grpSp>
        <p:nvGrpSpPr>
          <p:cNvPr id="25" name="Group 24">
            <a:extLst>
              <a:ext uri="{FF2B5EF4-FFF2-40B4-BE49-F238E27FC236}">
                <a16:creationId xmlns:a16="http://schemas.microsoft.com/office/drawing/2014/main" id="{5FBE64BB-9DEE-99AB-68B2-2256194E13C9}"/>
              </a:ext>
            </a:extLst>
          </p:cNvPr>
          <p:cNvGrpSpPr/>
          <p:nvPr userDrawn="1"/>
        </p:nvGrpSpPr>
        <p:grpSpPr>
          <a:xfrm>
            <a:off x="8781032" y="5725874"/>
            <a:ext cx="951309" cy="341297"/>
            <a:chOff x="8781032" y="6371773"/>
            <a:chExt cx="951309" cy="341297"/>
          </a:xfrm>
        </p:grpSpPr>
        <p:sp>
          <p:nvSpPr>
            <p:cNvPr id="26" name="Shape 2452">
              <a:extLst>
                <a:ext uri="{FF2B5EF4-FFF2-40B4-BE49-F238E27FC236}">
                  <a16:creationId xmlns:a16="http://schemas.microsoft.com/office/drawing/2014/main" id="{540D27EF-26CC-8EB8-3265-5FF3F35F70ED}"/>
                </a:ext>
              </a:extLst>
            </p:cNvPr>
            <p:cNvSpPr>
              <a:spLocks noChangeAspect="1"/>
            </p:cNvSpPr>
            <p:nvPr userDrawn="1"/>
          </p:nvSpPr>
          <p:spPr>
            <a:xfrm>
              <a:off x="9210516" y="6371773"/>
              <a:ext cx="92341" cy="125987"/>
            </a:xfrm>
            <a:custGeom>
              <a:avLst/>
              <a:gdLst/>
              <a:ahLst/>
              <a:cxnLst>
                <a:cxn ang="0">
                  <a:pos x="wd2" y="hd2"/>
                </a:cxn>
                <a:cxn ang="5400000">
                  <a:pos x="wd2" y="hd2"/>
                </a:cxn>
                <a:cxn ang="10800000">
                  <a:pos x="wd2" y="hd2"/>
                </a:cxn>
                <a:cxn ang="16200000">
                  <a:pos x="wd2" y="hd2"/>
                </a:cxn>
              </a:cxnLst>
              <a:rect l="0" t="0" r="r" b="b"/>
              <a:pathLst>
                <a:path w="21600" h="21600" extrusionOk="0">
                  <a:moveTo>
                    <a:pt x="10789" y="0"/>
                  </a:moveTo>
                  <a:cubicBezTo>
                    <a:pt x="4857" y="0"/>
                    <a:pt x="0" y="3511"/>
                    <a:pt x="0" y="7919"/>
                  </a:cubicBezTo>
                  <a:cubicBezTo>
                    <a:pt x="0" y="12264"/>
                    <a:pt x="10789" y="21600"/>
                    <a:pt x="10789" y="21600"/>
                  </a:cubicBezTo>
                  <a:cubicBezTo>
                    <a:pt x="10789" y="21600"/>
                    <a:pt x="21600" y="12280"/>
                    <a:pt x="21600" y="7919"/>
                  </a:cubicBezTo>
                  <a:cubicBezTo>
                    <a:pt x="21600" y="3574"/>
                    <a:pt x="16743" y="0"/>
                    <a:pt x="10789" y="0"/>
                  </a:cubicBezTo>
                </a:path>
              </a:pathLst>
            </a:custGeom>
            <a:solidFill>
              <a:schemeClr val="accent1"/>
            </a:solidFill>
            <a:ln w="3175">
              <a:miter lim="400000"/>
            </a:ln>
          </p:spPr>
          <p:txBody>
            <a:bodyPr lIns="59013" tIns="59013" rIns="59013" bIns="59013" anchor="ctr"/>
            <a:lstStyle/>
            <a:p>
              <a:pPr algn="l" defTabSz="590133">
                <a:lnSpc>
                  <a:spcPct val="93000"/>
                </a:lnSpc>
                <a:defRPr sz="2200">
                  <a:latin typeface="Arial"/>
                  <a:ea typeface="Arial"/>
                  <a:cs typeface="Arial"/>
                  <a:sym typeface="Arial"/>
                </a:defRPr>
              </a:pPr>
              <a:endParaRPr sz="2400" spc="100" baseline="0">
                <a:solidFill>
                  <a:schemeClr val="accent1"/>
                </a:solidFill>
              </a:endParaRPr>
            </a:p>
          </p:txBody>
        </p:sp>
        <p:sp>
          <p:nvSpPr>
            <p:cNvPr id="27" name="TextBox 26">
              <a:extLst>
                <a:ext uri="{FF2B5EF4-FFF2-40B4-BE49-F238E27FC236}">
                  <a16:creationId xmlns:a16="http://schemas.microsoft.com/office/drawing/2014/main" id="{DA2FEFD3-E0F4-2350-5459-0AD9C66A5503}"/>
                </a:ext>
              </a:extLst>
            </p:cNvPr>
            <p:cNvSpPr txBox="1"/>
            <p:nvPr userDrawn="1"/>
          </p:nvSpPr>
          <p:spPr>
            <a:xfrm>
              <a:off x="8781032" y="6574571"/>
              <a:ext cx="951309" cy="138499"/>
            </a:xfrm>
            <a:prstGeom prst="rect">
              <a:avLst/>
            </a:prstGeom>
            <a:noFill/>
          </p:spPr>
          <p:txBody>
            <a:bodyPr vert="horz" wrap="square" lIns="0" tIns="0" rIns="0" bIns="0" rtlCol="0" anchor="t">
              <a:spAutoFit/>
            </a:bodyPr>
            <a:lstStyle/>
            <a:p>
              <a:pPr marL="0" algn="ctr" defTabSz="914400" rtl="0" eaLnBrk="1" latinLnBrk="0" hangingPunct="1"/>
              <a:r>
                <a:rPr lang="en-US" sz="900" b="0" u="none" kern="1200" spc="100" baseline="0">
                  <a:solidFill>
                    <a:schemeClr val="tx1"/>
                  </a:solidFill>
                  <a:latin typeface="+mj-lt"/>
                  <a:ea typeface="+mn-ea"/>
                  <a:cs typeface="Tahoma" pitchFamily="34" charset="0"/>
                </a:rPr>
                <a:t>GURGAON</a:t>
              </a:r>
            </a:p>
          </p:txBody>
        </p:sp>
      </p:grpSp>
      <p:grpSp>
        <p:nvGrpSpPr>
          <p:cNvPr id="28" name="Group 27">
            <a:extLst>
              <a:ext uri="{FF2B5EF4-FFF2-40B4-BE49-F238E27FC236}">
                <a16:creationId xmlns:a16="http://schemas.microsoft.com/office/drawing/2014/main" id="{4DFBC3EA-97BE-05E6-46B6-2EBD6A7DCA86}"/>
              </a:ext>
            </a:extLst>
          </p:cNvPr>
          <p:cNvGrpSpPr/>
          <p:nvPr userDrawn="1"/>
        </p:nvGrpSpPr>
        <p:grpSpPr>
          <a:xfrm>
            <a:off x="3522492" y="5725874"/>
            <a:ext cx="951309" cy="341297"/>
            <a:chOff x="3522492" y="6371773"/>
            <a:chExt cx="951309" cy="341297"/>
          </a:xfrm>
        </p:grpSpPr>
        <p:sp>
          <p:nvSpPr>
            <p:cNvPr id="29" name="TextBox 28">
              <a:extLst>
                <a:ext uri="{FF2B5EF4-FFF2-40B4-BE49-F238E27FC236}">
                  <a16:creationId xmlns:a16="http://schemas.microsoft.com/office/drawing/2014/main" id="{8346A939-5231-F04A-5871-100DE2F02622}"/>
                </a:ext>
              </a:extLst>
            </p:cNvPr>
            <p:cNvSpPr txBox="1"/>
            <p:nvPr userDrawn="1"/>
          </p:nvSpPr>
          <p:spPr>
            <a:xfrm>
              <a:off x="3522492" y="6574571"/>
              <a:ext cx="951309" cy="138499"/>
            </a:xfrm>
            <a:prstGeom prst="rect">
              <a:avLst/>
            </a:prstGeom>
            <a:noFill/>
          </p:spPr>
          <p:txBody>
            <a:bodyPr vert="horz" wrap="square" lIns="0" tIns="0" rIns="0" bIns="0" rtlCol="0" anchor="t">
              <a:spAutoFit/>
            </a:bodyPr>
            <a:lstStyle/>
            <a:p>
              <a:pPr marL="0" algn="ctr" defTabSz="914400" rtl="0" eaLnBrk="1" latinLnBrk="0" hangingPunct="1"/>
              <a:r>
                <a:rPr lang="en-US" sz="900" b="0" u="none" kern="1200" spc="100" baseline="0">
                  <a:solidFill>
                    <a:schemeClr val="tx1"/>
                  </a:solidFill>
                  <a:latin typeface="+mj-lt"/>
                  <a:ea typeface="+mn-ea"/>
                  <a:cs typeface="Tahoma" pitchFamily="34" charset="0"/>
                </a:rPr>
                <a:t>PRINCETON</a:t>
              </a:r>
            </a:p>
          </p:txBody>
        </p:sp>
        <p:sp>
          <p:nvSpPr>
            <p:cNvPr id="30" name="Shape 2452">
              <a:extLst>
                <a:ext uri="{FF2B5EF4-FFF2-40B4-BE49-F238E27FC236}">
                  <a16:creationId xmlns:a16="http://schemas.microsoft.com/office/drawing/2014/main" id="{74972758-CC23-0AE4-8203-91A6AF89FA06}"/>
                </a:ext>
              </a:extLst>
            </p:cNvPr>
            <p:cNvSpPr>
              <a:spLocks noChangeAspect="1"/>
            </p:cNvSpPr>
            <p:nvPr userDrawn="1"/>
          </p:nvSpPr>
          <p:spPr>
            <a:xfrm>
              <a:off x="3951976" y="6371773"/>
              <a:ext cx="92341" cy="125987"/>
            </a:xfrm>
            <a:custGeom>
              <a:avLst/>
              <a:gdLst/>
              <a:ahLst/>
              <a:cxnLst>
                <a:cxn ang="0">
                  <a:pos x="wd2" y="hd2"/>
                </a:cxn>
                <a:cxn ang="5400000">
                  <a:pos x="wd2" y="hd2"/>
                </a:cxn>
                <a:cxn ang="10800000">
                  <a:pos x="wd2" y="hd2"/>
                </a:cxn>
                <a:cxn ang="16200000">
                  <a:pos x="wd2" y="hd2"/>
                </a:cxn>
              </a:cxnLst>
              <a:rect l="0" t="0" r="r" b="b"/>
              <a:pathLst>
                <a:path w="21600" h="21600" extrusionOk="0">
                  <a:moveTo>
                    <a:pt x="10789" y="0"/>
                  </a:moveTo>
                  <a:cubicBezTo>
                    <a:pt x="4857" y="0"/>
                    <a:pt x="0" y="3511"/>
                    <a:pt x="0" y="7919"/>
                  </a:cubicBezTo>
                  <a:cubicBezTo>
                    <a:pt x="0" y="12264"/>
                    <a:pt x="10789" y="21600"/>
                    <a:pt x="10789" y="21600"/>
                  </a:cubicBezTo>
                  <a:cubicBezTo>
                    <a:pt x="10789" y="21600"/>
                    <a:pt x="21600" y="12280"/>
                    <a:pt x="21600" y="7919"/>
                  </a:cubicBezTo>
                  <a:cubicBezTo>
                    <a:pt x="21600" y="3574"/>
                    <a:pt x="16743" y="0"/>
                    <a:pt x="10789" y="0"/>
                  </a:cubicBezTo>
                </a:path>
              </a:pathLst>
            </a:custGeom>
            <a:solidFill>
              <a:schemeClr val="accent1"/>
            </a:solidFill>
            <a:ln w="3175">
              <a:miter lim="400000"/>
            </a:ln>
          </p:spPr>
          <p:txBody>
            <a:bodyPr lIns="59013" tIns="59013" rIns="59013" bIns="59013" anchor="ctr"/>
            <a:lstStyle/>
            <a:p>
              <a:pPr algn="l" defTabSz="590133">
                <a:lnSpc>
                  <a:spcPct val="93000"/>
                </a:lnSpc>
                <a:defRPr sz="2200">
                  <a:latin typeface="Arial"/>
                  <a:ea typeface="Arial"/>
                  <a:cs typeface="Arial"/>
                  <a:sym typeface="Arial"/>
                </a:defRPr>
              </a:pPr>
              <a:endParaRPr sz="2400" spc="100" baseline="0">
                <a:solidFill>
                  <a:schemeClr val="accent1"/>
                </a:solidFill>
              </a:endParaRPr>
            </a:p>
          </p:txBody>
        </p:sp>
      </p:grpSp>
      <p:grpSp>
        <p:nvGrpSpPr>
          <p:cNvPr id="32" name="Group 31">
            <a:extLst>
              <a:ext uri="{FF2B5EF4-FFF2-40B4-BE49-F238E27FC236}">
                <a16:creationId xmlns:a16="http://schemas.microsoft.com/office/drawing/2014/main" id="{F7C42DC5-98E5-1F68-1F6D-A273ABA0B0F2}"/>
              </a:ext>
            </a:extLst>
          </p:cNvPr>
          <p:cNvGrpSpPr/>
          <p:nvPr userDrawn="1"/>
        </p:nvGrpSpPr>
        <p:grpSpPr>
          <a:xfrm>
            <a:off x="4574200" y="5725874"/>
            <a:ext cx="951309" cy="341297"/>
            <a:chOff x="4574200" y="6371773"/>
            <a:chExt cx="951309" cy="341297"/>
          </a:xfrm>
        </p:grpSpPr>
        <p:sp>
          <p:nvSpPr>
            <p:cNvPr id="33" name="Shape 2452">
              <a:extLst>
                <a:ext uri="{FF2B5EF4-FFF2-40B4-BE49-F238E27FC236}">
                  <a16:creationId xmlns:a16="http://schemas.microsoft.com/office/drawing/2014/main" id="{DF786BAC-AF16-34B2-4D11-8D74F7A690C7}"/>
                </a:ext>
              </a:extLst>
            </p:cNvPr>
            <p:cNvSpPr>
              <a:spLocks noChangeAspect="1"/>
            </p:cNvSpPr>
            <p:nvPr userDrawn="1"/>
          </p:nvSpPr>
          <p:spPr>
            <a:xfrm>
              <a:off x="5003684" y="6371773"/>
              <a:ext cx="92341" cy="125987"/>
            </a:xfrm>
            <a:custGeom>
              <a:avLst/>
              <a:gdLst/>
              <a:ahLst/>
              <a:cxnLst>
                <a:cxn ang="0">
                  <a:pos x="wd2" y="hd2"/>
                </a:cxn>
                <a:cxn ang="5400000">
                  <a:pos x="wd2" y="hd2"/>
                </a:cxn>
                <a:cxn ang="10800000">
                  <a:pos x="wd2" y="hd2"/>
                </a:cxn>
                <a:cxn ang="16200000">
                  <a:pos x="wd2" y="hd2"/>
                </a:cxn>
              </a:cxnLst>
              <a:rect l="0" t="0" r="r" b="b"/>
              <a:pathLst>
                <a:path w="21600" h="21600" extrusionOk="0">
                  <a:moveTo>
                    <a:pt x="10789" y="0"/>
                  </a:moveTo>
                  <a:cubicBezTo>
                    <a:pt x="4857" y="0"/>
                    <a:pt x="0" y="3511"/>
                    <a:pt x="0" y="7919"/>
                  </a:cubicBezTo>
                  <a:cubicBezTo>
                    <a:pt x="0" y="12264"/>
                    <a:pt x="10789" y="21600"/>
                    <a:pt x="10789" y="21600"/>
                  </a:cubicBezTo>
                  <a:cubicBezTo>
                    <a:pt x="10789" y="21600"/>
                    <a:pt x="21600" y="12280"/>
                    <a:pt x="21600" y="7919"/>
                  </a:cubicBezTo>
                  <a:cubicBezTo>
                    <a:pt x="21600" y="3574"/>
                    <a:pt x="16743" y="0"/>
                    <a:pt x="10789" y="0"/>
                  </a:cubicBezTo>
                </a:path>
              </a:pathLst>
            </a:custGeom>
            <a:solidFill>
              <a:schemeClr val="accent1"/>
            </a:solidFill>
            <a:ln w="3175">
              <a:miter lim="400000"/>
            </a:ln>
          </p:spPr>
          <p:txBody>
            <a:bodyPr lIns="59013" tIns="59013" rIns="59013" bIns="59013" anchor="ctr"/>
            <a:lstStyle/>
            <a:p>
              <a:pPr algn="l" defTabSz="590133">
                <a:lnSpc>
                  <a:spcPct val="93000"/>
                </a:lnSpc>
                <a:defRPr sz="2200">
                  <a:latin typeface="Arial"/>
                  <a:ea typeface="Arial"/>
                  <a:cs typeface="Arial"/>
                  <a:sym typeface="Arial"/>
                </a:defRPr>
              </a:pPr>
              <a:endParaRPr sz="2400" spc="100" baseline="0">
                <a:solidFill>
                  <a:schemeClr val="accent1"/>
                </a:solidFill>
              </a:endParaRPr>
            </a:p>
          </p:txBody>
        </p:sp>
        <p:sp>
          <p:nvSpPr>
            <p:cNvPr id="34" name="TextBox 33">
              <a:extLst>
                <a:ext uri="{FF2B5EF4-FFF2-40B4-BE49-F238E27FC236}">
                  <a16:creationId xmlns:a16="http://schemas.microsoft.com/office/drawing/2014/main" id="{99E93E1C-1877-029B-185E-D7886C5124A1}"/>
                </a:ext>
              </a:extLst>
            </p:cNvPr>
            <p:cNvSpPr txBox="1"/>
            <p:nvPr userDrawn="1"/>
          </p:nvSpPr>
          <p:spPr>
            <a:xfrm>
              <a:off x="4574200" y="6574571"/>
              <a:ext cx="951309" cy="138499"/>
            </a:xfrm>
            <a:prstGeom prst="rect">
              <a:avLst/>
            </a:prstGeom>
            <a:noFill/>
          </p:spPr>
          <p:txBody>
            <a:bodyPr vert="horz" wrap="square" lIns="0" tIns="0" rIns="0" bIns="0" rtlCol="0" anchor="t">
              <a:spAutoFit/>
            </a:bodyPr>
            <a:lstStyle/>
            <a:p>
              <a:pPr marL="0" algn="ctr" defTabSz="914400" rtl="0" eaLnBrk="1" latinLnBrk="0" hangingPunct="1"/>
              <a:r>
                <a:rPr lang="en-US" sz="900" b="0" u="none" kern="1200" spc="100" baseline="0">
                  <a:solidFill>
                    <a:schemeClr val="tx1"/>
                  </a:solidFill>
                  <a:latin typeface="+mj-lt"/>
                  <a:ea typeface="+mn-ea"/>
                  <a:cs typeface="Tahoma" pitchFamily="34" charset="0"/>
                </a:rPr>
                <a:t>PHILADELPHIA</a:t>
              </a:r>
            </a:p>
          </p:txBody>
        </p:sp>
      </p:grpSp>
      <p:grpSp>
        <p:nvGrpSpPr>
          <p:cNvPr id="35" name="Group 34">
            <a:extLst>
              <a:ext uri="{FF2B5EF4-FFF2-40B4-BE49-F238E27FC236}">
                <a16:creationId xmlns:a16="http://schemas.microsoft.com/office/drawing/2014/main" id="{47D0E684-594D-20B3-F874-08CDFD287A89}"/>
              </a:ext>
            </a:extLst>
          </p:cNvPr>
          <p:cNvGrpSpPr/>
          <p:nvPr userDrawn="1"/>
        </p:nvGrpSpPr>
        <p:grpSpPr>
          <a:xfrm>
            <a:off x="10884444" y="5725874"/>
            <a:ext cx="951309" cy="341297"/>
            <a:chOff x="10884444" y="6371773"/>
            <a:chExt cx="951309" cy="341297"/>
          </a:xfrm>
        </p:grpSpPr>
        <p:sp>
          <p:nvSpPr>
            <p:cNvPr id="36" name="TextBox 35">
              <a:extLst>
                <a:ext uri="{FF2B5EF4-FFF2-40B4-BE49-F238E27FC236}">
                  <a16:creationId xmlns:a16="http://schemas.microsoft.com/office/drawing/2014/main" id="{505A2510-4613-D7C2-062E-D7AD6C904070}"/>
                </a:ext>
              </a:extLst>
            </p:cNvPr>
            <p:cNvSpPr txBox="1"/>
            <p:nvPr userDrawn="1"/>
          </p:nvSpPr>
          <p:spPr>
            <a:xfrm>
              <a:off x="10884444" y="6574571"/>
              <a:ext cx="951309" cy="138499"/>
            </a:xfrm>
            <a:prstGeom prst="rect">
              <a:avLst/>
            </a:prstGeom>
            <a:noFill/>
          </p:spPr>
          <p:txBody>
            <a:bodyPr vert="horz" wrap="square" lIns="0" tIns="0" rIns="0" bIns="0" rtlCol="0" anchor="t">
              <a:spAutoFit/>
            </a:bodyPr>
            <a:lstStyle/>
            <a:p>
              <a:pPr marL="0" algn="ctr" defTabSz="914400" rtl="0" eaLnBrk="1" latinLnBrk="0" hangingPunct="1"/>
              <a:r>
                <a:rPr lang="en-US" sz="900" b="0" u="none" kern="1200" spc="100" baseline="0">
                  <a:solidFill>
                    <a:schemeClr val="tx1"/>
                  </a:solidFill>
                  <a:latin typeface="+mj-lt"/>
                  <a:ea typeface="+mn-ea"/>
                  <a:cs typeface="Tahoma" pitchFamily="34" charset="0"/>
                </a:rPr>
                <a:t>CHENNAI</a:t>
              </a:r>
            </a:p>
          </p:txBody>
        </p:sp>
        <p:sp>
          <p:nvSpPr>
            <p:cNvPr id="37" name="Shape 2452">
              <a:extLst>
                <a:ext uri="{FF2B5EF4-FFF2-40B4-BE49-F238E27FC236}">
                  <a16:creationId xmlns:a16="http://schemas.microsoft.com/office/drawing/2014/main" id="{55486696-67FD-26A2-5B19-F7D7666D35F5}"/>
                </a:ext>
              </a:extLst>
            </p:cNvPr>
            <p:cNvSpPr>
              <a:spLocks noChangeAspect="1"/>
            </p:cNvSpPr>
            <p:nvPr userDrawn="1"/>
          </p:nvSpPr>
          <p:spPr>
            <a:xfrm>
              <a:off x="11313928" y="6371773"/>
              <a:ext cx="92341" cy="125987"/>
            </a:xfrm>
            <a:custGeom>
              <a:avLst/>
              <a:gdLst/>
              <a:ahLst/>
              <a:cxnLst>
                <a:cxn ang="0">
                  <a:pos x="wd2" y="hd2"/>
                </a:cxn>
                <a:cxn ang="5400000">
                  <a:pos x="wd2" y="hd2"/>
                </a:cxn>
                <a:cxn ang="10800000">
                  <a:pos x="wd2" y="hd2"/>
                </a:cxn>
                <a:cxn ang="16200000">
                  <a:pos x="wd2" y="hd2"/>
                </a:cxn>
              </a:cxnLst>
              <a:rect l="0" t="0" r="r" b="b"/>
              <a:pathLst>
                <a:path w="21600" h="21600" extrusionOk="0">
                  <a:moveTo>
                    <a:pt x="10789" y="0"/>
                  </a:moveTo>
                  <a:cubicBezTo>
                    <a:pt x="4857" y="0"/>
                    <a:pt x="0" y="3511"/>
                    <a:pt x="0" y="7919"/>
                  </a:cubicBezTo>
                  <a:cubicBezTo>
                    <a:pt x="0" y="12264"/>
                    <a:pt x="10789" y="21600"/>
                    <a:pt x="10789" y="21600"/>
                  </a:cubicBezTo>
                  <a:cubicBezTo>
                    <a:pt x="10789" y="21600"/>
                    <a:pt x="21600" y="12280"/>
                    <a:pt x="21600" y="7919"/>
                  </a:cubicBezTo>
                  <a:cubicBezTo>
                    <a:pt x="21600" y="3574"/>
                    <a:pt x="16743" y="0"/>
                    <a:pt x="10789" y="0"/>
                  </a:cubicBezTo>
                </a:path>
              </a:pathLst>
            </a:custGeom>
            <a:solidFill>
              <a:schemeClr val="accent1"/>
            </a:solidFill>
            <a:ln w="3175">
              <a:miter lim="400000"/>
            </a:ln>
          </p:spPr>
          <p:txBody>
            <a:bodyPr lIns="59013" tIns="59013" rIns="59013" bIns="59013" anchor="ctr"/>
            <a:lstStyle/>
            <a:p>
              <a:pPr algn="l" defTabSz="590133">
                <a:lnSpc>
                  <a:spcPct val="93000"/>
                </a:lnSpc>
                <a:defRPr sz="2200">
                  <a:latin typeface="Arial"/>
                  <a:ea typeface="Arial"/>
                  <a:cs typeface="Arial"/>
                  <a:sym typeface="Arial"/>
                </a:defRPr>
              </a:pPr>
              <a:endParaRPr sz="2400" spc="100" baseline="0">
                <a:solidFill>
                  <a:schemeClr val="accent1"/>
                </a:solidFill>
              </a:endParaRPr>
            </a:p>
          </p:txBody>
        </p:sp>
      </p:grpSp>
    </p:spTree>
    <p:extLst>
      <p:ext uri="{BB962C8B-B14F-4D97-AF65-F5344CB8AC3E}">
        <p14:creationId xmlns:p14="http://schemas.microsoft.com/office/powerpoint/2010/main" val="99191753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ags" Target="../tags/tag3.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2.xml"/><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1"/>
            </p:custDataLst>
            <p:extLst>
              <p:ext uri="{D42A27DB-BD31-4B8C-83A1-F6EECF244321}">
                <p14:modId xmlns:p14="http://schemas.microsoft.com/office/powerpoint/2010/main" val="4204167803"/>
              </p:ext>
            </p:extLst>
          </p:nvPr>
        </p:nvGraphicFramePr>
        <p:xfrm>
          <a:off x="2119" y="1593"/>
          <a:ext cx="2116" cy="1587"/>
        </p:xfrm>
        <a:graphic>
          <a:graphicData uri="http://schemas.openxmlformats.org/presentationml/2006/ole">
            <mc:AlternateContent xmlns:mc="http://schemas.openxmlformats.org/markup-compatibility/2006">
              <mc:Choice xmlns:v="urn:schemas-microsoft-com:vml" Requires="v">
                <p:oleObj name="think-cell Slide" r:id="rId13" imgW="383" imgH="384" progId="TCLayout.ActiveDocument.1">
                  <p:embed/>
                </p:oleObj>
              </mc:Choice>
              <mc:Fallback>
                <p:oleObj name="think-cell Slide" r:id="rId13" imgW="383" imgH="384" progId="TCLayout.ActiveDocument.1">
                  <p:embed/>
                  <p:pic>
                    <p:nvPicPr>
                      <p:cNvPr id="6" name="Object 5" hidden="1"/>
                      <p:cNvPicPr/>
                      <p:nvPr/>
                    </p:nvPicPr>
                    <p:blipFill>
                      <a:blip r:embed="rId14"/>
                      <a:stretch>
                        <a:fillRect/>
                      </a:stretch>
                    </p:blipFill>
                    <p:spPr>
                      <a:xfrm>
                        <a:off x="2119" y="1593"/>
                        <a:ext cx="2116" cy="158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8210957E-023C-46D1-8B55-419F12CDC4E9}"/>
              </a:ext>
            </a:extLst>
          </p:cNvPr>
          <p:cNvSpPr/>
          <p:nvPr userDrawn="1">
            <p:custDataLst>
              <p:tags r:id="rId12"/>
            </p:custDataLst>
          </p:nvPr>
        </p:nvSpPr>
        <p:spPr>
          <a:xfrm>
            <a:off x="0" y="0"/>
            <a:ext cx="158750" cy="158750"/>
          </a:xfrm>
          <a:prstGeom prst="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wrap="none" lIns="0" tIns="0" rIns="0" bIns="0" numCol="1" spcCol="0" rtlCol="0" anchor="ctr" anchorCtr="0">
            <a:noAutofit/>
          </a:bodyPr>
          <a:lstStyle/>
          <a:p>
            <a:pPr marL="0" lvl="0" indent="0" algn="ctr"/>
            <a:endParaRPr lang="en-US" sz="2600" b="0" i="0" baseline="0">
              <a:latin typeface="Calibri" panose="020F0502020204030204" pitchFamily="34" charset="0"/>
              <a:ea typeface="+mj-ea"/>
              <a:cs typeface="Tahoma" panose="020B0604030504040204" pitchFamily="34" charset="0"/>
              <a:sym typeface="Calibri" panose="020F0502020204030204" pitchFamily="34" charset="0"/>
            </a:endParaRPr>
          </a:p>
        </p:txBody>
      </p:sp>
      <p:sp>
        <p:nvSpPr>
          <p:cNvPr id="2" name="Title Placeholder 1"/>
          <p:cNvSpPr>
            <a:spLocks noGrp="1"/>
          </p:cNvSpPr>
          <p:nvPr>
            <p:ph type="title"/>
          </p:nvPr>
        </p:nvSpPr>
        <p:spPr>
          <a:xfrm>
            <a:off x="609600" y="104415"/>
            <a:ext cx="10972800" cy="906738"/>
          </a:xfrm>
          <a:prstGeom prst="rect">
            <a:avLst/>
          </a:prstGeom>
          <a:noFill/>
        </p:spPr>
        <p:txBody>
          <a:bodyPr vert="horz" lIns="91440" tIns="45720" rIns="91440" bIns="45720" rtlCol="0" anchor="ctr">
            <a:noAutofit/>
          </a:bodyPr>
          <a:lstStyle/>
          <a:p>
            <a:r>
              <a:rPr lang="en-US"/>
              <a:t>Title Line 1</a:t>
            </a:r>
            <a:br>
              <a:rPr lang="en-US"/>
            </a:br>
            <a:r>
              <a:rPr lang="en-US"/>
              <a:t>Title Line Continued</a:t>
            </a:r>
          </a:p>
        </p:txBody>
      </p:sp>
      <p:sp>
        <p:nvSpPr>
          <p:cNvPr id="3" name="Text Placeholder 2"/>
          <p:cNvSpPr>
            <a:spLocks noGrp="1"/>
          </p:cNvSpPr>
          <p:nvPr>
            <p:ph type="body" idx="1"/>
          </p:nvPr>
        </p:nvSpPr>
        <p:spPr>
          <a:xfrm>
            <a:off x="609600" y="1285336"/>
            <a:ext cx="10972800" cy="5063706"/>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6536323"/>
      </p:ext>
    </p:extLst>
  </p:cSld>
  <p:clrMap bg1="lt1" tx1="dk1" bg2="lt2" tx2="dk2" accent1="accent1" accent2="accent2" accent3="accent3" accent4="accent4" accent5="accent5" accent6="accent6" hlink="hlink" folHlink="folHlink"/>
  <p:sldLayoutIdLst>
    <p:sldLayoutId id="2147483897" r:id="rId1"/>
    <p:sldLayoutId id="2147483898" r:id="rId2"/>
    <p:sldLayoutId id="2147483899" r:id="rId3"/>
    <p:sldLayoutId id="2147483900" r:id="rId4"/>
    <p:sldLayoutId id="2147483901" r:id="rId5"/>
    <p:sldLayoutId id="2147483902" r:id="rId6"/>
    <p:sldLayoutId id="2147483903" r:id="rId7"/>
    <p:sldLayoutId id="2147483904" r:id="rId8"/>
    <p:sldLayoutId id="2147483905" r:id="rId9"/>
  </p:sldLayoutIdLst>
  <p:hf hdr="0" ftr="0" dt="0"/>
  <p:txStyles>
    <p:titleStyle>
      <a:lvl1pPr algn="l" defTabSz="914400" rtl="0" eaLnBrk="1" latinLnBrk="0" hangingPunct="1">
        <a:spcBef>
          <a:spcPct val="0"/>
        </a:spcBef>
        <a:buNone/>
        <a:defRPr sz="2600" b="0" kern="1200" spc="120" baseline="0">
          <a:solidFill>
            <a:schemeClr val="tx1"/>
          </a:solidFill>
          <a:latin typeface="+mn-lt"/>
          <a:ea typeface="+mj-ea"/>
          <a:cs typeface="Tahoma" pitchFamily="34" charset="0"/>
        </a:defRPr>
      </a:lvl1pPr>
    </p:titleStyle>
    <p:bodyStyle>
      <a:lvl1pPr marL="190500" indent="-187325" algn="l" defTabSz="914400" rtl="0" eaLnBrk="1" latinLnBrk="0" hangingPunct="1">
        <a:spcBef>
          <a:spcPts val="600"/>
        </a:spcBef>
        <a:buClr>
          <a:schemeClr val="bg2">
            <a:lumMod val="50000"/>
          </a:schemeClr>
        </a:buClr>
        <a:buFont typeface="Arial" panose="020B0604020202020204" pitchFamily="34" charset="0"/>
        <a:buChar char="•"/>
        <a:defRPr sz="1800" kern="1200">
          <a:solidFill>
            <a:schemeClr val="tx1"/>
          </a:solidFill>
          <a:latin typeface="+mn-lt"/>
          <a:ea typeface="+mn-ea"/>
          <a:cs typeface="Tahoma" pitchFamily="34" charset="0"/>
        </a:defRPr>
      </a:lvl1pPr>
      <a:lvl2pPr marL="439738" indent="-250825" algn="l" defTabSz="914400" rtl="0" eaLnBrk="1" latinLnBrk="0" hangingPunct="1">
        <a:spcBef>
          <a:spcPts val="600"/>
        </a:spcBef>
        <a:buClr>
          <a:schemeClr val="bg2">
            <a:lumMod val="50000"/>
          </a:schemeClr>
        </a:buClr>
        <a:buFont typeface="Courier New" pitchFamily="49" charset="0"/>
        <a:buChar char="­"/>
        <a:defRPr sz="1600" kern="1200">
          <a:solidFill>
            <a:schemeClr val="accent1"/>
          </a:solidFill>
          <a:latin typeface="+mn-lt"/>
          <a:ea typeface="+mn-ea"/>
          <a:cs typeface="Tahoma" pitchFamily="34" charset="0"/>
        </a:defRPr>
      </a:lvl2pPr>
      <a:lvl3pPr marL="652463" indent="-217488" algn="l" defTabSz="914400" rtl="0" eaLnBrk="1" latinLnBrk="0" hangingPunct="1">
        <a:spcBef>
          <a:spcPts val="600"/>
        </a:spcBef>
        <a:buClr>
          <a:schemeClr val="bg2">
            <a:lumMod val="50000"/>
          </a:schemeClr>
        </a:buClr>
        <a:buFont typeface="Arial" panose="020B0604020202020204" pitchFamily="34" charset="0"/>
        <a:buChar char="•"/>
        <a:defRPr sz="1400" kern="1200">
          <a:solidFill>
            <a:schemeClr val="bg2">
              <a:lumMod val="50000"/>
            </a:schemeClr>
          </a:solidFill>
          <a:latin typeface="+mn-lt"/>
          <a:ea typeface="+mn-ea"/>
          <a:cs typeface="Tahoma" pitchFamily="34" charset="0"/>
        </a:defRPr>
      </a:lvl3pPr>
      <a:lvl4pPr marL="833438" indent="-173038" algn="l" defTabSz="914400" rtl="0" eaLnBrk="1" latinLnBrk="0" hangingPunct="1">
        <a:spcBef>
          <a:spcPts val="600"/>
        </a:spcBef>
        <a:buClr>
          <a:schemeClr val="bg2">
            <a:lumMod val="50000"/>
          </a:schemeClr>
        </a:buClr>
        <a:buFont typeface="Arial" pitchFamily="34" charset="0"/>
        <a:buChar char="–"/>
        <a:defRPr sz="1200" kern="1200">
          <a:solidFill>
            <a:schemeClr val="bg2">
              <a:lumMod val="50000"/>
            </a:schemeClr>
          </a:solidFill>
          <a:latin typeface="+mn-lt"/>
          <a:ea typeface="+mn-ea"/>
          <a:cs typeface="Tahoma" pitchFamily="34" charset="0"/>
        </a:defRPr>
      </a:lvl4pPr>
      <a:lvl5pPr marL="1004888" indent="-169863" algn="l" defTabSz="914400" rtl="0" eaLnBrk="1" latinLnBrk="0" hangingPunct="1">
        <a:spcBef>
          <a:spcPts val="600"/>
        </a:spcBef>
        <a:buClr>
          <a:schemeClr val="bg2">
            <a:lumMod val="50000"/>
          </a:schemeClr>
        </a:buClr>
        <a:buFont typeface="Arial" panose="020B0604020202020204" pitchFamily="34" charset="0"/>
        <a:buChar char="•"/>
        <a:defRPr sz="1000" kern="1200">
          <a:solidFill>
            <a:schemeClr val="bg2">
              <a:lumMod val="50000"/>
            </a:schemeClr>
          </a:solidFill>
          <a:latin typeface="+mn-lt"/>
          <a:ea typeface="+mn-ea"/>
          <a:cs typeface="Tahoma"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7" Type="http://schemas.openxmlformats.org/officeDocument/2006/relationships/image" Target="../media/image8.svg"/><Relationship Id="rId2" Type="http://schemas.openxmlformats.org/officeDocument/2006/relationships/slideLayout" Target="../slideLayouts/slideLayout1.xml"/><Relationship Id="rId1" Type="http://schemas.openxmlformats.org/officeDocument/2006/relationships/tags" Target="../tags/tag13.xml"/><Relationship Id="rId6" Type="http://schemas.openxmlformats.org/officeDocument/2006/relationships/image" Target="../media/image7.png"/><Relationship Id="rId5" Type="http://schemas.openxmlformats.org/officeDocument/2006/relationships/image" Target="../media/image13.emf"/><Relationship Id="rId4" Type="http://schemas.openxmlformats.org/officeDocument/2006/relationships/oleObject" Target="../embeddings/oleObject11.bin"/></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3.xml"/><Relationship Id="rId1" Type="http://schemas.openxmlformats.org/officeDocument/2006/relationships/tags" Target="../tags/tag14.xml"/><Relationship Id="rId5" Type="http://schemas.openxmlformats.org/officeDocument/2006/relationships/image" Target="../media/image14.emf"/><Relationship Id="rId4" Type="http://schemas.openxmlformats.org/officeDocument/2006/relationships/oleObject" Target="../embeddings/oleObject12.bin"/></Relationships>
</file>

<file path=ppt/slides/_rels/slide3.xml.rels><?xml version="1.0" encoding="UTF-8" standalone="yes"?>
<Relationships xmlns="http://schemas.openxmlformats.org/package/2006/relationships"><Relationship Id="rId2" Type="http://schemas.openxmlformats.org/officeDocument/2006/relationships/image" Target="../media/image15.jpg"/><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Layout" Target="../slideLayouts/slideLayout9.xml"/><Relationship Id="rId1" Type="http://schemas.openxmlformats.org/officeDocument/2006/relationships/tags" Target="../tags/tag15.xml"/><Relationship Id="rId4" Type="http://schemas.openxmlformats.org/officeDocument/2006/relationships/image" Target="../media/image13.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EE1007F-F9E9-4586-A8E8-AB831C44B48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624" imgH="623" progId="TCLayout.ActiveDocument.1">
                  <p:embed/>
                </p:oleObj>
              </mc:Choice>
              <mc:Fallback>
                <p:oleObj name="think-cell Slide" r:id="rId4" imgW="624" imgH="623" progId="TCLayout.ActiveDocument.1">
                  <p:embed/>
                  <p:pic>
                    <p:nvPicPr>
                      <p:cNvPr id="8" name="Object 7" hidden="1">
                        <a:extLst>
                          <a:ext uri="{FF2B5EF4-FFF2-40B4-BE49-F238E27FC236}">
                            <a16:creationId xmlns:a16="http://schemas.microsoft.com/office/drawing/2014/main" id="{3EE1007F-F9E9-4586-A8E8-AB831C44B48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ctrTitle"/>
          </p:nvPr>
        </p:nvSpPr>
        <p:spPr>
          <a:xfrm>
            <a:off x="1993392" y="4288211"/>
            <a:ext cx="8165592" cy="582356"/>
          </a:xfrm>
        </p:spPr>
        <p:txBody>
          <a:bodyPr vert="horz"/>
          <a:lstStyle/>
          <a:p>
            <a:r>
              <a:rPr lang="en-US" dirty="0" err="1"/>
              <a:t>IntelligenceEDGE</a:t>
            </a:r>
            <a:r>
              <a:rPr lang="en-US" dirty="0"/>
              <a:t> Generative AI</a:t>
            </a:r>
          </a:p>
        </p:txBody>
      </p:sp>
      <p:sp>
        <p:nvSpPr>
          <p:cNvPr id="4" name="Text Placeholder 3"/>
          <p:cNvSpPr>
            <a:spLocks noGrp="1"/>
          </p:cNvSpPr>
          <p:nvPr>
            <p:ph type="body" sz="quarter" idx="13"/>
          </p:nvPr>
        </p:nvSpPr>
        <p:spPr>
          <a:xfrm>
            <a:off x="1993392" y="4870567"/>
            <a:ext cx="4876800" cy="304800"/>
          </a:xfrm>
        </p:spPr>
        <p:txBody>
          <a:bodyPr/>
          <a:lstStyle/>
          <a:p>
            <a:r>
              <a:rPr lang="en-US" dirty="0"/>
              <a:t>Oct, 2024</a:t>
            </a:r>
          </a:p>
        </p:txBody>
      </p:sp>
      <p:pic>
        <p:nvPicPr>
          <p:cNvPr id="14" name="Graphic 13">
            <a:extLst>
              <a:ext uri="{FF2B5EF4-FFF2-40B4-BE49-F238E27FC236}">
                <a16:creationId xmlns:a16="http://schemas.microsoft.com/office/drawing/2014/main" id="{75F22772-E4DA-47A5-92AE-2F5963808FC0}"/>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2078870" y="2873777"/>
            <a:ext cx="3952053" cy="951420"/>
          </a:xfrm>
          <a:prstGeom prst="rect">
            <a:avLst/>
          </a:prstGeom>
        </p:spPr>
      </p:pic>
    </p:spTree>
    <p:extLst>
      <p:ext uri="{BB962C8B-B14F-4D97-AF65-F5344CB8AC3E}">
        <p14:creationId xmlns:p14="http://schemas.microsoft.com/office/powerpoint/2010/main" val="141495000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CBEB0959-46B0-D85A-55D8-7F2737AF6B08}"/>
              </a:ext>
            </a:extLst>
          </p:cNvPr>
          <p:cNvGraphicFramePr>
            <a:graphicFrameLocks noChangeAspect="1"/>
          </p:cNvGraphicFramePr>
          <p:nvPr>
            <p:custDataLst>
              <p:tags r:id="rId1"/>
            </p:custDataLst>
            <p:extLst>
              <p:ext uri="{D42A27DB-BD31-4B8C-83A1-F6EECF244321}">
                <p14:modId xmlns:p14="http://schemas.microsoft.com/office/powerpoint/2010/main" val="4606647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622" imgH="623" progId="TCLayout.ActiveDocument.1">
                  <p:embed/>
                </p:oleObj>
              </mc:Choice>
              <mc:Fallback>
                <p:oleObj name="think-cell Slide" r:id="rId4" imgW="622" imgH="623" progId="TCLayout.ActiveDocument.1">
                  <p:embed/>
                  <p:pic>
                    <p:nvPicPr>
                      <p:cNvPr id="9" name="Object 8" hidden="1">
                        <a:extLst>
                          <a:ext uri="{FF2B5EF4-FFF2-40B4-BE49-F238E27FC236}">
                            <a16:creationId xmlns:a16="http://schemas.microsoft.com/office/drawing/2014/main" id="{CBEB0959-46B0-D85A-55D8-7F2737AF6B0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US" dirty="0"/>
              <a:t>Generative AI requirements</a:t>
            </a:r>
          </a:p>
        </p:txBody>
      </p:sp>
      <p:sp>
        <p:nvSpPr>
          <p:cNvPr id="3" name="Text Placeholder 2">
            <a:extLst>
              <a:ext uri="{FF2B5EF4-FFF2-40B4-BE49-F238E27FC236}">
                <a16:creationId xmlns:a16="http://schemas.microsoft.com/office/drawing/2014/main" id="{3BA2F93F-C876-4A6D-B4BB-CDA1410600EF}"/>
              </a:ext>
            </a:extLst>
          </p:cNvPr>
          <p:cNvSpPr>
            <a:spLocks noGrp="1"/>
          </p:cNvSpPr>
          <p:nvPr>
            <p:ph type="body" sz="quarter" idx="14"/>
          </p:nvPr>
        </p:nvSpPr>
        <p:spPr/>
        <p:txBody>
          <a:bodyPr/>
          <a:lstStyle/>
          <a:p>
            <a:endParaRPr lang="en-US"/>
          </a:p>
        </p:txBody>
      </p:sp>
      <p:sp>
        <p:nvSpPr>
          <p:cNvPr id="4" name="Text Placeholder 3"/>
          <p:cNvSpPr>
            <a:spLocks noGrp="1"/>
          </p:cNvSpPr>
          <p:nvPr>
            <p:ph type="body" sz="quarter" idx="15"/>
          </p:nvPr>
        </p:nvSpPr>
        <p:spPr>
          <a:xfrm>
            <a:off x="609600" y="879654"/>
            <a:ext cx="10972800" cy="5098692"/>
          </a:xfrm>
        </p:spPr>
        <p:txBody>
          <a:bodyPr/>
          <a:lstStyle/>
          <a:p>
            <a:pPr>
              <a:lnSpc>
                <a:spcPct val="150000"/>
              </a:lnSpc>
            </a:pPr>
            <a:r>
              <a:rPr lang="en-US" b="1" dirty="0"/>
              <a:t>A conversational chatbot agent on CI data and any additional clinical trial/library documentation added</a:t>
            </a:r>
          </a:p>
          <a:p>
            <a:pPr>
              <a:lnSpc>
                <a:spcPct val="150000"/>
              </a:lnSpc>
            </a:pPr>
            <a:r>
              <a:rPr lang="en-US" b="1" dirty="0"/>
              <a:t>The feature will be available within all dashboards and to all users within a dashboard</a:t>
            </a:r>
          </a:p>
          <a:p>
            <a:pPr>
              <a:lnSpc>
                <a:spcPct val="150000"/>
              </a:lnSpc>
            </a:pPr>
            <a:r>
              <a:rPr lang="en-US" b="1" dirty="0"/>
              <a:t>The chatbot will need to be able to filter, analyze, and summarize the data within the dashboard</a:t>
            </a:r>
          </a:p>
          <a:p>
            <a:pPr>
              <a:lnSpc>
                <a:spcPct val="150000"/>
              </a:lnSpc>
            </a:pPr>
            <a:r>
              <a:rPr lang="en-US" b="1" dirty="0"/>
              <a:t>The agent will also need to retrieve additional context within the realm of CI dashboard documents on filtered data points if needed</a:t>
            </a:r>
          </a:p>
          <a:p>
            <a:pPr>
              <a:lnSpc>
                <a:spcPct val="150000"/>
              </a:lnSpc>
            </a:pPr>
            <a:r>
              <a:rPr lang="en-US" b="1" dirty="0"/>
              <a:t>The agent should perform a RAG only on data available within the context of a dashboard</a:t>
            </a:r>
          </a:p>
          <a:p>
            <a:pPr>
              <a:lnSpc>
                <a:spcPct val="150000"/>
              </a:lnSpc>
            </a:pPr>
            <a:r>
              <a:rPr lang="en-US" b="1" dirty="0"/>
              <a:t>Built in filter. Product name and timeline?</a:t>
            </a:r>
          </a:p>
          <a:p>
            <a:pPr>
              <a:lnSpc>
                <a:spcPct val="150000"/>
              </a:lnSpc>
            </a:pPr>
            <a:r>
              <a:rPr lang="en-US" b="1" dirty="0"/>
              <a:t>Data within a dashboard would be a mix of structured relational data and unstructured documents</a:t>
            </a:r>
          </a:p>
          <a:p>
            <a:pPr>
              <a:lnSpc>
                <a:spcPct val="150000"/>
              </a:lnSpc>
            </a:pPr>
            <a:r>
              <a:rPr lang="en-US" b="1" dirty="0"/>
              <a:t>The chatbot will need to store the context of the entire conversation in its state.</a:t>
            </a:r>
          </a:p>
          <a:p>
            <a:pPr>
              <a:lnSpc>
                <a:spcPct val="150000"/>
              </a:lnSpc>
            </a:pPr>
            <a:r>
              <a:rPr lang="en-US" b="1" dirty="0"/>
              <a:t>The chatbot will need to keep a history of conversation by user (not MVP)</a:t>
            </a:r>
          </a:p>
        </p:txBody>
      </p:sp>
      <p:sp>
        <p:nvSpPr>
          <p:cNvPr id="7" name="TextBox 6">
            <a:extLst>
              <a:ext uri="{FF2B5EF4-FFF2-40B4-BE49-F238E27FC236}">
                <a16:creationId xmlns:a16="http://schemas.microsoft.com/office/drawing/2014/main" id="{99B38F64-8308-9D47-96C0-0459E50B7CFB}"/>
              </a:ext>
            </a:extLst>
          </p:cNvPr>
          <p:cNvSpPr txBox="1"/>
          <p:nvPr/>
        </p:nvSpPr>
        <p:spPr>
          <a:xfrm>
            <a:off x="1649643" y="1514693"/>
            <a:ext cx="0" cy="0"/>
          </a:xfrm>
          <a:prstGeom prst="rect">
            <a:avLst/>
          </a:prstGeom>
          <a:noFill/>
        </p:spPr>
        <p:txBody>
          <a:bodyPr wrap="none" rtlCol="0">
            <a:noAutofit/>
          </a:bodyPr>
          <a:lstStyle/>
          <a:p>
            <a:pPr marL="233363" marR="0" lvl="0" indent="-230188" algn="l" defTabSz="914400" rtl="0" eaLnBrk="1" fontAlgn="auto" latinLnBrk="0" hangingPunct="1">
              <a:lnSpc>
                <a:spcPct val="100000"/>
              </a:lnSpc>
              <a:spcBef>
                <a:spcPts val="600"/>
              </a:spcBef>
              <a:spcAft>
                <a:spcPts val="600"/>
              </a:spcAft>
              <a:buClr>
                <a:srgbClr val="303030">
                  <a:lumMod val="50000"/>
                  <a:lumOff val="50000"/>
                </a:srgbClr>
              </a:buClr>
              <a:buSzTx/>
              <a:buFont typeface="Arial" panose="020B0604020202020204" pitchFamily="34" charset="0"/>
              <a:buChar char="•"/>
              <a:tabLst/>
              <a:defRPr/>
            </a:pPr>
            <a:endParaRPr kumimoji="0" lang="en-US" sz="2000" b="0" i="0" u="none" strike="noStrike" kern="1200" cap="none" spc="0" normalizeH="0" baseline="0" noProof="0" dirty="0">
              <a:ln>
                <a:noFill/>
              </a:ln>
              <a:solidFill>
                <a:srgbClr val="002240"/>
              </a:solidFill>
              <a:effectLst/>
              <a:uLnTx/>
              <a:uFillTx/>
              <a:latin typeface="Calibri" panose="020F0502020204030204"/>
              <a:ea typeface="+mn-ea"/>
              <a:cs typeface="Tahoma" pitchFamily="34" charset="0"/>
            </a:endParaRPr>
          </a:p>
        </p:txBody>
      </p:sp>
      <p:sp>
        <p:nvSpPr>
          <p:cNvPr id="8" name="TextBox 7">
            <a:extLst>
              <a:ext uri="{FF2B5EF4-FFF2-40B4-BE49-F238E27FC236}">
                <a16:creationId xmlns:a16="http://schemas.microsoft.com/office/drawing/2014/main" id="{D7990BC9-E9A2-C440-A324-AB64D5A8CCA8}"/>
              </a:ext>
            </a:extLst>
          </p:cNvPr>
          <p:cNvSpPr txBox="1"/>
          <p:nvPr/>
        </p:nvSpPr>
        <p:spPr>
          <a:xfrm>
            <a:off x="-6980" y="963261"/>
            <a:ext cx="0" cy="0"/>
          </a:xfrm>
          <a:prstGeom prst="rect">
            <a:avLst/>
          </a:prstGeom>
          <a:noFill/>
        </p:spPr>
        <p:txBody>
          <a:bodyPr wrap="none" rtlCol="0">
            <a:noAutofit/>
          </a:bodyPr>
          <a:lstStyle/>
          <a:p>
            <a:pPr marL="233363" marR="0" lvl="0" indent="-230188" algn="l" defTabSz="914400" rtl="0" eaLnBrk="1" fontAlgn="auto" latinLnBrk="0" hangingPunct="1">
              <a:lnSpc>
                <a:spcPct val="100000"/>
              </a:lnSpc>
              <a:spcBef>
                <a:spcPts val="600"/>
              </a:spcBef>
              <a:spcAft>
                <a:spcPts val="600"/>
              </a:spcAft>
              <a:buClr>
                <a:srgbClr val="303030">
                  <a:lumMod val="50000"/>
                  <a:lumOff val="50000"/>
                </a:srgbClr>
              </a:buClr>
              <a:buSzTx/>
              <a:buFont typeface="Arial" panose="020B0604020202020204" pitchFamily="34" charset="0"/>
              <a:buChar char="•"/>
              <a:tabLst/>
              <a:defRPr/>
            </a:pPr>
            <a:endParaRPr kumimoji="0" lang="en-US" sz="2000" b="0" i="0" u="none" strike="noStrike" kern="1200" cap="none" spc="0" normalizeH="0" baseline="0" noProof="0">
              <a:ln>
                <a:noFill/>
              </a:ln>
              <a:solidFill>
                <a:srgbClr val="002240"/>
              </a:solidFill>
              <a:effectLst/>
              <a:uLnTx/>
              <a:uFillTx/>
              <a:latin typeface="Calibri" panose="020F0502020204030204"/>
              <a:ea typeface="+mn-ea"/>
              <a:cs typeface="Tahoma" pitchFamily="34" charset="0"/>
            </a:endParaRPr>
          </a:p>
        </p:txBody>
      </p:sp>
    </p:spTree>
    <p:extLst>
      <p:ext uri="{BB962C8B-B14F-4D97-AF65-F5344CB8AC3E}">
        <p14:creationId xmlns:p14="http://schemas.microsoft.com/office/powerpoint/2010/main" val="192819910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2B5058-B9FA-DC88-954C-AAB4412A61EB}"/>
              </a:ext>
            </a:extLst>
          </p:cNvPr>
          <p:cNvSpPr>
            <a:spLocks noGrp="1"/>
          </p:cNvSpPr>
          <p:nvPr>
            <p:ph type="title"/>
          </p:nvPr>
        </p:nvSpPr>
        <p:spPr/>
        <p:txBody>
          <a:bodyPr/>
          <a:lstStyle/>
          <a:p>
            <a:r>
              <a:rPr lang="en-US" dirty="0"/>
              <a:t>Generative AI Architecture (Proposed)</a:t>
            </a:r>
          </a:p>
        </p:txBody>
      </p:sp>
      <p:sp>
        <p:nvSpPr>
          <p:cNvPr id="3" name="Text Placeholder 2">
            <a:extLst>
              <a:ext uri="{FF2B5EF4-FFF2-40B4-BE49-F238E27FC236}">
                <a16:creationId xmlns:a16="http://schemas.microsoft.com/office/drawing/2014/main" id="{A551A5AE-7CF9-9CDA-8045-5234A86E94BA}"/>
              </a:ext>
            </a:extLst>
          </p:cNvPr>
          <p:cNvSpPr>
            <a:spLocks noGrp="1"/>
          </p:cNvSpPr>
          <p:nvPr>
            <p:ph type="body" sz="quarter" idx="14"/>
          </p:nvPr>
        </p:nvSpPr>
        <p:spPr/>
        <p:txBody>
          <a:bodyPr/>
          <a:lstStyle/>
          <a:p>
            <a:r>
              <a:rPr lang="en-US" dirty="0"/>
              <a:t>* LLM used will be OpenAI GPT 4o</a:t>
            </a:r>
          </a:p>
        </p:txBody>
      </p:sp>
      <p:pic>
        <p:nvPicPr>
          <p:cNvPr id="5" name="Picture 4" descr="A diagram of a software&#10;&#10;Description automatically generated">
            <a:extLst>
              <a:ext uri="{FF2B5EF4-FFF2-40B4-BE49-F238E27FC236}">
                <a16:creationId xmlns:a16="http://schemas.microsoft.com/office/drawing/2014/main" id="{C9B89824-2986-4F70-D4FE-8C4196A519B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17004" y="825055"/>
            <a:ext cx="10772775" cy="5610225"/>
          </a:xfrm>
          <a:prstGeom prst="rect">
            <a:avLst/>
          </a:prstGeom>
        </p:spPr>
      </p:pic>
    </p:spTree>
    <p:extLst>
      <p:ext uri="{BB962C8B-B14F-4D97-AF65-F5344CB8AC3E}">
        <p14:creationId xmlns:p14="http://schemas.microsoft.com/office/powerpoint/2010/main" val="250197861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32E592C-ACD5-6441-0B5E-F0D9611FF3D3}"/>
              </a:ext>
            </a:extLst>
          </p:cNvPr>
          <p:cNvSpPr>
            <a:spLocks noGrp="1"/>
          </p:cNvSpPr>
          <p:nvPr>
            <p:ph type="title"/>
          </p:nvPr>
        </p:nvSpPr>
        <p:spPr>
          <a:xfrm>
            <a:off x="609600" y="104415"/>
            <a:ext cx="10972800" cy="645393"/>
          </a:xfrm>
        </p:spPr>
        <p:txBody>
          <a:bodyPr/>
          <a:lstStyle/>
          <a:p>
            <a:r>
              <a:rPr lang="en-US" dirty="0"/>
              <a:t>Azure AI Search + Azure Open AI</a:t>
            </a:r>
          </a:p>
        </p:txBody>
      </p:sp>
      <p:sp>
        <p:nvSpPr>
          <p:cNvPr id="3" name="Text Placeholder 2">
            <a:extLst>
              <a:ext uri="{FF2B5EF4-FFF2-40B4-BE49-F238E27FC236}">
                <a16:creationId xmlns:a16="http://schemas.microsoft.com/office/drawing/2014/main" id="{195BB2BB-B878-0379-CFFC-40E28AE189C4}"/>
              </a:ext>
            </a:extLst>
          </p:cNvPr>
          <p:cNvSpPr>
            <a:spLocks noGrp="1"/>
          </p:cNvSpPr>
          <p:nvPr>
            <p:ph type="body" sz="quarter" idx="14"/>
          </p:nvPr>
        </p:nvSpPr>
        <p:spPr/>
        <p:txBody>
          <a:bodyPr/>
          <a:lstStyle/>
          <a:p>
            <a:endParaRPr lang="en-US"/>
          </a:p>
        </p:txBody>
      </p:sp>
      <p:sp>
        <p:nvSpPr>
          <p:cNvPr id="4" name="Text Placeholder 3">
            <a:extLst>
              <a:ext uri="{FF2B5EF4-FFF2-40B4-BE49-F238E27FC236}">
                <a16:creationId xmlns:a16="http://schemas.microsoft.com/office/drawing/2014/main" id="{1E4C7647-43B9-7C3A-7EEA-6D962391BECE}"/>
              </a:ext>
            </a:extLst>
          </p:cNvPr>
          <p:cNvSpPr>
            <a:spLocks noGrp="1"/>
          </p:cNvSpPr>
          <p:nvPr>
            <p:ph type="body" sz="quarter" idx="15"/>
          </p:nvPr>
        </p:nvSpPr>
        <p:spPr>
          <a:xfrm>
            <a:off x="609600" y="879654"/>
            <a:ext cx="10972800" cy="5484570"/>
          </a:xfrm>
        </p:spPr>
        <p:txBody>
          <a:bodyPr/>
          <a:lstStyle/>
          <a:p>
            <a:pPr>
              <a:spcAft>
                <a:spcPts val="600"/>
              </a:spcAft>
            </a:pPr>
            <a:r>
              <a:rPr lang="en-US" sz="2000" dirty="0"/>
              <a:t>Azure AI Search is a fully managed search-as-a-service solution that provides powerful and flexible search capabilities for building applications.</a:t>
            </a:r>
          </a:p>
          <a:p>
            <a:pPr>
              <a:spcAft>
                <a:spcPts val="600"/>
              </a:spcAft>
            </a:pPr>
            <a:r>
              <a:rPr lang="en-US" sz="2000" dirty="0"/>
              <a:t>Azure AI search provides hybrid (full text + vector) with semantic re-ranking capabilities to provide more contextually relevant results using advanced machine learning models.</a:t>
            </a:r>
          </a:p>
          <a:p>
            <a:pPr>
              <a:spcAft>
                <a:spcPts val="600"/>
              </a:spcAft>
            </a:pPr>
            <a:r>
              <a:rPr lang="en-US" sz="2000" dirty="0"/>
              <a:t>Azure AI search high availability and scalability with Azure’s infrastructure, allowing for seamless scaling based on demand.</a:t>
            </a:r>
          </a:p>
          <a:p>
            <a:pPr>
              <a:spcAft>
                <a:spcPts val="600"/>
              </a:spcAft>
            </a:pPr>
            <a:r>
              <a:rPr lang="en-US" sz="2000" dirty="0"/>
              <a:t>Azure AI search seamlessly integrates with other Azure services like, Azure SQL Database, Azure Blob Storage, and more, enabling comprehensive AI solutions.</a:t>
            </a:r>
          </a:p>
          <a:p>
            <a:pPr>
              <a:spcAft>
                <a:spcPts val="600"/>
              </a:spcAft>
            </a:pPr>
            <a:r>
              <a:rPr lang="en-US" sz="2000" dirty="0"/>
              <a:t>Azure Open AI leverages Azure’s cloud infrastructure to ensure scalability, reliability, and performance, handling high loads and large-scale applications.</a:t>
            </a:r>
          </a:p>
          <a:p>
            <a:pPr>
              <a:spcAft>
                <a:spcPts val="600"/>
              </a:spcAft>
            </a:pPr>
            <a:r>
              <a:rPr lang="en-US" sz="2000" dirty="0"/>
              <a:t>Azure Open AI benefits from Azure’s robust security measures, including data encryption, compliance certifications (e.g., GDPR, HIPAA), and enterprise-grade security features.</a:t>
            </a:r>
          </a:p>
          <a:p>
            <a:pPr>
              <a:spcAft>
                <a:spcPts val="600"/>
              </a:spcAft>
            </a:pPr>
            <a:r>
              <a:rPr lang="en-US" sz="2000" dirty="0"/>
              <a:t>Azure Open AI provides access to OpenAI’s GPT models, including GPT-3.5 and GPT-4, allowing for advanced natural language processing (NLP) capabilities.</a:t>
            </a:r>
          </a:p>
        </p:txBody>
      </p:sp>
    </p:spTree>
    <p:extLst>
      <p:ext uri="{BB962C8B-B14F-4D97-AF65-F5344CB8AC3E}">
        <p14:creationId xmlns:p14="http://schemas.microsoft.com/office/powerpoint/2010/main" val="358266416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2B5058-B9FA-DC88-954C-AAB4412A61EB}"/>
              </a:ext>
            </a:extLst>
          </p:cNvPr>
          <p:cNvSpPr>
            <a:spLocks noGrp="1"/>
          </p:cNvSpPr>
          <p:nvPr>
            <p:ph type="title"/>
          </p:nvPr>
        </p:nvSpPr>
        <p:spPr/>
        <p:txBody>
          <a:bodyPr/>
          <a:lstStyle/>
          <a:p>
            <a:r>
              <a:rPr lang="en-US" dirty="0" err="1"/>
              <a:t>Llamaindex</a:t>
            </a:r>
            <a:endParaRPr lang="en-US" dirty="0"/>
          </a:p>
        </p:txBody>
      </p:sp>
      <p:sp>
        <p:nvSpPr>
          <p:cNvPr id="3" name="Text Placeholder 2">
            <a:extLst>
              <a:ext uri="{FF2B5EF4-FFF2-40B4-BE49-F238E27FC236}">
                <a16:creationId xmlns:a16="http://schemas.microsoft.com/office/drawing/2014/main" id="{A551A5AE-7CF9-9CDA-8045-5234A86E94BA}"/>
              </a:ext>
            </a:extLst>
          </p:cNvPr>
          <p:cNvSpPr>
            <a:spLocks noGrp="1"/>
          </p:cNvSpPr>
          <p:nvPr>
            <p:ph type="body" sz="quarter" idx="14"/>
          </p:nvPr>
        </p:nvSpPr>
        <p:spPr/>
        <p:txBody>
          <a:bodyPr/>
          <a:lstStyle/>
          <a:p>
            <a:endParaRPr lang="en-US" dirty="0"/>
          </a:p>
        </p:txBody>
      </p:sp>
      <p:sp>
        <p:nvSpPr>
          <p:cNvPr id="4" name="Text Placeholder 3">
            <a:extLst>
              <a:ext uri="{FF2B5EF4-FFF2-40B4-BE49-F238E27FC236}">
                <a16:creationId xmlns:a16="http://schemas.microsoft.com/office/drawing/2014/main" id="{2DC68EDF-3095-98EA-C6F0-A8E474817FA0}"/>
              </a:ext>
            </a:extLst>
          </p:cNvPr>
          <p:cNvSpPr>
            <a:spLocks noGrp="1"/>
          </p:cNvSpPr>
          <p:nvPr>
            <p:ph type="body" sz="quarter" idx="15"/>
          </p:nvPr>
        </p:nvSpPr>
        <p:spPr>
          <a:xfrm>
            <a:off x="609600" y="859536"/>
            <a:ext cx="10972800" cy="5515865"/>
          </a:xfrm>
        </p:spPr>
        <p:txBody>
          <a:bodyPr/>
          <a:lstStyle/>
          <a:p>
            <a:pPr algn="just">
              <a:spcAft>
                <a:spcPts val="600"/>
              </a:spcAft>
            </a:pPr>
            <a:r>
              <a:rPr lang="en-US" sz="2000" dirty="0"/>
              <a:t>Open-source Python/TS framework with strong and growing community with comprehensive documentation, making it easily accessible for developers. </a:t>
            </a:r>
          </a:p>
          <a:p>
            <a:pPr algn="just">
              <a:spcAft>
                <a:spcPts val="600"/>
              </a:spcAft>
            </a:pPr>
            <a:r>
              <a:rPr lang="en-US" sz="2000" dirty="0"/>
              <a:t>Abstracts much of the complexity involved in working with large language models, allowing developers to focus on building their applications.</a:t>
            </a:r>
          </a:p>
          <a:p>
            <a:pPr algn="just">
              <a:spcAft>
                <a:spcPts val="600"/>
              </a:spcAft>
            </a:pPr>
            <a:r>
              <a:rPr lang="en-US" sz="2000" dirty="0"/>
              <a:t>Robust data ingestion, indexing and retrieval</a:t>
            </a:r>
          </a:p>
          <a:p>
            <a:pPr algn="just">
              <a:spcAft>
                <a:spcPts val="600"/>
              </a:spcAft>
            </a:pPr>
            <a:r>
              <a:rPr lang="en-US" sz="2000" dirty="0"/>
              <a:t>Can handle large volumes of data and scale horizontally. This makes it suitable for applications requiring the processing of extensive datasets and handling high query loads.</a:t>
            </a:r>
          </a:p>
          <a:p>
            <a:pPr algn="just">
              <a:spcAft>
                <a:spcPts val="600"/>
              </a:spcAft>
            </a:pPr>
            <a:r>
              <a:rPr lang="en-US" sz="2000" dirty="0"/>
              <a:t>Provides OOB functionality for text2SQL style queries.</a:t>
            </a:r>
          </a:p>
          <a:p>
            <a:pPr algn="just">
              <a:spcAft>
                <a:spcPts val="600"/>
              </a:spcAft>
            </a:pPr>
            <a:r>
              <a:rPr lang="en-US" sz="2000" dirty="0"/>
              <a:t>Provides OOB tools to handle both tabular search and RAG on unstructured data based in tabular search results.</a:t>
            </a:r>
          </a:p>
          <a:p>
            <a:pPr algn="just">
              <a:spcAft>
                <a:spcPts val="600"/>
              </a:spcAft>
            </a:pPr>
            <a:r>
              <a:rPr lang="en-US" sz="2000" dirty="0"/>
              <a:t>Supports almost all LLMs including local LLMs including GPT-4o provisioned via Azure Open AI.</a:t>
            </a:r>
          </a:p>
          <a:p>
            <a:pPr algn="just">
              <a:spcAft>
                <a:spcPts val="600"/>
              </a:spcAft>
            </a:pPr>
            <a:r>
              <a:rPr lang="en-US" sz="2000" dirty="0"/>
              <a:t>Supports Azure AI search as vector store along with many other vector stores like Chroma, </a:t>
            </a:r>
            <a:r>
              <a:rPr lang="en-US" sz="2000" dirty="0" err="1"/>
              <a:t>Weaviate</a:t>
            </a:r>
            <a:r>
              <a:rPr lang="en-US" sz="2000" dirty="0"/>
              <a:t>, Pinecone.</a:t>
            </a:r>
          </a:p>
          <a:p>
            <a:endParaRPr lang="en-US" sz="2000" dirty="0"/>
          </a:p>
          <a:p>
            <a:endParaRPr lang="en-US" dirty="0"/>
          </a:p>
        </p:txBody>
      </p:sp>
    </p:spTree>
    <p:extLst>
      <p:ext uri="{BB962C8B-B14F-4D97-AF65-F5344CB8AC3E}">
        <p14:creationId xmlns:p14="http://schemas.microsoft.com/office/powerpoint/2010/main" val="64153562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5" name="Object 34" hidden="1">
            <a:extLst>
              <a:ext uri="{FF2B5EF4-FFF2-40B4-BE49-F238E27FC236}">
                <a16:creationId xmlns:a16="http://schemas.microsoft.com/office/drawing/2014/main" id="{A905EB70-1E07-4984-82FE-6BF4FCF6024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624" imgH="623" progId="TCLayout.ActiveDocument.1">
                  <p:embed/>
                </p:oleObj>
              </mc:Choice>
              <mc:Fallback>
                <p:oleObj name="think-cell Slide" r:id="rId3" imgW="624" imgH="623" progId="TCLayout.ActiveDocument.1">
                  <p:embed/>
                  <p:pic>
                    <p:nvPicPr>
                      <p:cNvPr id="35" name="Object 34" hidden="1">
                        <a:extLst>
                          <a:ext uri="{FF2B5EF4-FFF2-40B4-BE49-F238E27FC236}">
                            <a16:creationId xmlns:a16="http://schemas.microsoft.com/office/drawing/2014/main" id="{A905EB70-1E07-4984-82FE-6BF4FCF6024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6" name="Title 35">
            <a:extLst>
              <a:ext uri="{FF2B5EF4-FFF2-40B4-BE49-F238E27FC236}">
                <a16:creationId xmlns:a16="http://schemas.microsoft.com/office/drawing/2014/main" id="{CAEEB663-79A6-40BD-A30F-74A2E796DA7C}"/>
              </a:ext>
            </a:extLst>
          </p:cNvPr>
          <p:cNvSpPr>
            <a:spLocks noGrp="1"/>
          </p:cNvSpPr>
          <p:nvPr>
            <p:ph type="ctrTitle"/>
          </p:nvPr>
        </p:nvSpPr>
        <p:spPr/>
        <p:txBody>
          <a:bodyPr/>
          <a:lstStyle/>
          <a:p>
            <a:endParaRPr lang="en-US"/>
          </a:p>
        </p:txBody>
      </p:sp>
      <p:sp>
        <p:nvSpPr>
          <p:cNvPr id="37" name="Text Placeholder 36">
            <a:extLst>
              <a:ext uri="{FF2B5EF4-FFF2-40B4-BE49-F238E27FC236}">
                <a16:creationId xmlns:a16="http://schemas.microsoft.com/office/drawing/2014/main" id="{D31A43BE-C58C-4822-A78A-13925960BB6F}"/>
              </a:ext>
            </a:extLst>
          </p:cNvPr>
          <p:cNvSpPr>
            <a:spLocks noGrp="1"/>
          </p:cNvSpPr>
          <p:nvPr>
            <p:ph type="body" sz="quarter" idx="10"/>
          </p:nvPr>
        </p:nvSpPr>
        <p:spPr/>
        <p:txBody>
          <a:bodyPr/>
          <a:lstStyle/>
          <a:p>
            <a:endParaRPr lang="en-US"/>
          </a:p>
        </p:txBody>
      </p:sp>
      <p:sp>
        <p:nvSpPr>
          <p:cNvPr id="38" name="Text Placeholder 37">
            <a:extLst>
              <a:ext uri="{FF2B5EF4-FFF2-40B4-BE49-F238E27FC236}">
                <a16:creationId xmlns:a16="http://schemas.microsoft.com/office/drawing/2014/main" id="{EC4A45C3-44F1-4E69-B6C4-6470A7BBC05F}"/>
              </a:ext>
            </a:extLst>
          </p:cNvPr>
          <p:cNvSpPr>
            <a:spLocks noGrp="1"/>
          </p:cNvSpPr>
          <p:nvPr>
            <p:ph type="body" sz="quarter" idx="11"/>
          </p:nvPr>
        </p:nvSpPr>
        <p:spPr/>
        <p:txBody>
          <a:bodyPr/>
          <a:lstStyle/>
          <a:p>
            <a:endParaRPr lang="en-US"/>
          </a:p>
        </p:txBody>
      </p:sp>
      <p:sp>
        <p:nvSpPr>
          <p:cNvPr id="39" name="Text Placeholder 38">
            <a:extLst>
              <a:ext uri="{FF2B5EF4-FFF2-40B4-BE49-F238E27FC236}">
                <a16:creationId xmlns:a16="http://schemas.microsoft.com/office/drawing/2014/main" id="{DCC39D0E-3099-4138-A492-1BE7347D6BED}"/>
              </a:ext>
            </a:extLst>
          </p:cNvPr>
          <p:cNvSpPr>
            <a:spLocks noGrp="1"/>
          </p:cNvSpPr>
          <p:nvPr>
            <p:ph type="body" sz="quarter" idx="12"/>
          </p:nvPr>
        </p:nvSpPr>
        <p:spPr/>
        <p:txBody>
          <a:bodyPr/>
          <a:lstStyle/>
          <a:p>
            <a:endParaRPr lang="en-US"/>
          </a:p>
        </p:txBody>
      </p:sp>
      <p:sp>
        <p:nvSpPr>
          <p:cNvPr id="42" name="Text Placeholder 41">
            <a:extLst>
              <a:ext uri="{FF2B5EF4-FFF2-40B4-BE49-F238E27FC236}">
                <a16:creationId xmlns:a16="http://schemas.microsoft.com/office/drawing/2014/main" id="{F2F1D971-71E6-44BA-8B51-7DC086AEB3C2}"/>
              </a:ext>
            </a:extLst>
          </p:cNvPr>
          <p:cNvSpPr>
            <a:spLocks noGrp="1"/>
          </p:cNvSpPr>
          <p:nvPr>
            <p:ph type="body" sz="quarter" idx="26"/>
          </p:nvPr>
        </p:nvSpPr>
        <p:spPr/>
        <p:txBody>
          <a:bodyPr/>
          <a:lstStyle/>
          <a:p>
            <a:endParaRPr lang="en-US"/>
          </a:p>
        </p:txBody>
      </p:sp>
      <p:sp>
        <p:nvSpPr>
          <p:cNvPr id="40" name="Text Placeholder 39">
            <a:extLst>
              <a:ext uri="{FF2B5EF4-FFF2-40B4-BE49-F238E27FC236}">
                <a16:creationId xmlns:a16="http://schemas.microsoft.com/office/drawing/2014/main" id="{AA50EE52-69AF-49AC-AE8E-636C41D29B17}"/>
              </a:ext>
            </a:extLst>
          </p:cNvPr>
          <p:cNvSpPr>
            <a:spLocks noGrp="1"/>
          </p:cNvSpPr>
          <p:nvPr>
            <p:ph type="body" sz="quarter" idx="15"/>
          </p:nvPr>
        </p:nvSpPr>
        <p:spPr/>
        <p:txBody>
          <a:bodyPr/>
          <a:lstStyle/>
          <a:p>
            <a:endParaRPr lang="en-US"/>
          </a:p>
        </p:txBody>
      </p:sp>
      <p:sp>
        <p:nvSpPr>
          <p:cNvPr id="41" name="Text Placeholder 40">
            <a:extLst>
              <a:ext uri="{FF2B5EF4-FFF2-40B4-BE49-F238E27FC236}">
                <a16:creationId xmlns:a16="http://schemas.microsoft.com/office/drawing/2014/main" id="{71BC9728-701E-4278-AC26-BAD5BD728BF4}"/>
              </a:ext>
            </a:extLst>
          </p:cNvPr>
          <p:cNvSpPr>
            <a:spLocks noGrp="1"/>
          </p:cNvSpPr>
          <p:nvPr>
            <p:ph type="body" sz="quarter" idx="16"/>
          </p:nvPr>
        </p:nvSpPr>
        <p:spPr/>
        <p:txBody>
          <a:bodyPr/>
          <a:lstStyle/>
          <a:p>
            <a:endParaRPr lang="en-US"/>
          </a:p>
        </p:txBody>
      </p:sp>
      <p:sp>
        <p:nvSpPr>
          <p:cNvPr id="43" name="Text Placeholder 42">
            <a:extLst>
              <a:ext uri="{FF2B5EF4-FFF2-40B4-BE49-F238E27FC236}">
                <a16:creationId xmlns:a16="http://schemas.microsoft.com/office/drawing/2014/main" id="{0FABB63E-5C6A-49E7-9B3F-7B03FE6A758F}"/>
              </a:ext>
            </a:extLst>
          </p:cNvPr>
          <p:cNvSpPr>
            <a:spLocks noGrp="1"/>
          </p:cNvSpPr>
          <p:nvPr>
            <p:ph type="body" sz="quarter" idx="27"/>
          </p:nvPr>
        </p:nvSpPr>
        <p:spPr/>
        <p:txBody>
          <a:bodyPr/>
          <a:lstStyle/>
          <a:p>
            <a:endParaRPr lang="en-US"/>
          </a:p>
        </p:txBody>
      </p:sp>
      <p:sp>
        <p:nvSpPr>
          <p:cNvPr id="44" name="Text Placeholder 43">
            <a:extLst>
              <a:ext uri="{FF2B5EF4-FFF2-40B4-BE49-F238E27FC236}">
                <a16:creationId xmlns:a16="http://schemas.microsoft.com/office/drawing/2014/main" id="{83B1E5D2-06F2-42E7-8726-E91B0C500CF6}"/>
              </a:ext>
            </a:extLst>
          </p:cNvPr>
          <p:cNvSpPr>
            <a:spLocks noGrp="1"/>
          </p:cNvSpPr>
          <p:nvPr>
            <p:ph type="body" sz="quarter" idx="28"/>
          </p:nvPr>
        </p:nvSpPr>
        <p:spPr/>
        <p:txBody>
          <a:bodyPr/>
          <a:lstStyle/>
          <a:p>
            <a:endParaRPr lang="en-US"/>
          </a:p>
        </p:txBody>
      </p:sp>
      <p:sp>
        <p:nvSpPr>
          <p:cNvPr id="45" name="Text Placeholder 44">
            <a:extLst>
              <a:ext uri="{FF2B5EF4-FFF2-40B4-BE49-F238E27FC236}">
                <a16:creationId xmlns:a16="http://schemas.microsoft.com/office/drawing/2014/main" id="{EC0392BF-3060-4E6D-AE7A-C116ADC7F87A}"/>
              </a:ext>
            </a:extLst>
          </p:cNvPr>
          <p:cNvSpPr>
            <a:spLocks noGrp="1"/>
          </p:cNvSpPr>
          <p:nvPr>
            <p:ph type="body" sz="quarter" idx="29"/>
          </p:nvPr>
        </p:nvSpPr>
        <p:spPr/>
        <p:txBody>
          <a:bodyPr/>
          <a:lstStyle/>
          <a:p>
            <a:endParaRPr lang="en-US"/>
          </a:p>
        </p:txBody>
      </p:sp>
      <p:sp>
        <p:nvSpPr>
          <p:cNvPr id="46" name="Text Placeholder 45">
            <a:extLst>
              <a:ext uri="{FF2B5EF4-FFF2-40B4-BE49-F238E27FC236}">
                <a16:creationId xmlns:a16="http://schemas.microsoft.com/office/drawing/2014/main" id="{E29B86CF-A331-437B-85A9-CE7021C90326}"/>
              </a:ext>
            </a:extLst>
          </p:cNvPr>
          <p:cNvSpPr>
            <a:spLocks noGrp="1"/>
          </p:cNvSpPr>
          <p:nvPr>
            <p:ph type="body" sz="quarter" idx="30"/>
          </p:nvPr>
        </p:nvSpPr>
        <p:spPr/>
        <p:txBody>
          <a:bodyPr/>
          <a:lstStyle/>
          <a:p>
            <a:endParaRPr lang="en-US"/>
          </a:p>
        </p:txBody>
      </p:sp>
      <p:sp>
        <p:nvSpPr>
          <p:cNvPr id="47" name="Text Placeholder 46">
            <a:extLst>
              <a:ext uri="{FF2B5EF4-FFF2-40B4-BE49-F238E27FC236}">
                <a16:creationId xmlns:a16="http://schemas.microsoft.com/office/drawing/2014/main" id="{B1844787-C15C-4AF9-AE28-8ED28F6F8EFB}"/>
              </a:ext>
            </a:extLst>
          </p:cNvPr>
          <p:cNvSpPr>
            <a:spLocks noGrp="1"/>
          </p:cNvSpPr>
          <p:nvPr>
            <p:ph type="body" sz="quarter" idx="31"/>
          </p:nvPr>
        </p:nvSpPr>
        <p:spPr/>
        <p:txBody>
          <a:bodyPr/>
          <a:lstStyle/>
          <a:p>
            <a:endParaRPr lang="en-US"/>
          </a:p>
        </p:txBody>
      </p:sp>
      <p:sp>
        <p:nvSpPr>
          <p:cNvPr id="48" name="Text Placeholder 47">
            <a:extLst>
              <a:ext uri="{FF2B5EF4-FFF2-40B4-BE49-F238E27FC236}">
                <a16:creationId xmlns:a16="http://schemas.microsoft.com/office/drawing/2014/main" id="{DFD19922-5AAB-4262-A20E-72CFEB66D783}"/>
              </a:ext>
            </a:extLst>
          </p:cNvPr>
          <p:cNvSpPr>
            <a:spLocks noGrp="1"/>
          </p:cNvSpPr>
          <p:nvPr>
            <p:ph type="body" sz="quarter" idx="32"/>
          </p:nvPr>
        </p:nvSpPr>
        <p:spPr/>
        <p:txBody>
          <a:bodyPr/>
          <a:lstStyle/>
          <a:p>
            <a:endParaRPr lang="en-US"/>
          </a:p>
        </p:txBody>
      </p:sp>
      <p:sp>
        <p:nvSpPr>
          <p:cNvPr id="49" name="Text Placeholder 48">
            <a:extLst>
              <a:ext uri="{FF2B5EF4-FFF2-40B4-BE49-F238E27FC236}">
                <a16:creationId xmlns:a16="http://schemas.microsoft.com/office/drawing/2014/main" id="{F88F4050-44EB-4EF8-8712-8ACBDEC5B460}"/>
              </a:ext>
            </a:extLst>
          </p:cNvPr>
          <p:cNvSpPr>
            <a:spLocks noGrp="1"/>
          </p:cNvSpPr>
          <p:nvPr>
            <p:ph type="body" sz="quarter" idx="33"/>
          </p:nvPr>
        </p:nvSpPr>
        <p:spPr/>
        <p:txBody>
          <a:bodyPr/>
          <a:lstStyle/>
          <a:p>
            <a:endParaRPr lang="en-US"/>
          </a:p>
        </p:txBody>
      </p:sp>
      <p:sp>
        <p:nvSpPr>
          <p:cNvPr id="50" name="Text Placeholder 49">
            <a:extLst>
              <a:ext uri="{FF2B5EF4-FFF2-40B4-BE49-F238E27FC236}">
                <a16:creationId xmlns:a16="http://schemas.microsoft.com/office/drawing/2014/main" id="{7F21E908-3993-4142-AFBB-F6B3CCC14980}"/>
              </a:ext>
            </a:extLst>
          </p:cNvPr>
          <p:cNvSpPr>
            <a:spLocks noGrp="1"/>
          </p:cNvSpPr>
          <p:nvPr>
            <p:ph type="body" sz="quarter" idx="34"/>
          </p:nvPr>
        </p:nvSpPr>
        <p:spPr/>
        <p:txBody>
          <a:bodyPr/>
          <a:lstStyle/>
          <a:p>
            <a:endParaRPr lang="en-US"/>
          </a:p>
        </p:txBody>
      </p:sp>
      <p:sp>
        <p:nvSpPr>
          <p:cNvPr id="51" name="Text Placeholder 50">
            <a:extLst>
              <a:ext uri="{FF2B5EF4-FFF2-40B4-BE49-F238E27FC236}">
                <a16:creationId xmlns:a16="http://schemas.microsoft.com/office/drawing/2014/main" id="{172006B8-F7D8-43FA-A3A6-6FC57B355D45}"/>
              </a:ext>
            </a:extLst>
          </p:cNvPr>
          <p:cNvSpPr>
            <a:spLocks noGrp="1"/>
          </p:cNvSpPr>
          <p:nvPr>
            <p:ph type="body" sz="quarter" idx="35"/>
          </p:nvPr>
        </p:nvSpPr>
        <p:spPr/>
        <p:txBody>
          <a:bodyPr/>
          <a:lstStyle/>
          <a:p>
            <a:endParaRPr lang="en-US"/>
          </a:p>
        </p:txBody>
      </p:sp>
      <p:sp>
        <p:nvSpPr>
          <p:cNvPr id="21" name="Speech Bubble: Rectangle 20"/>
          <p:cNvSpPr/>
          <p:nvPr/>
        </p:nvSpPr>
        <p:spPr>
          <a:xfrm>
            <a:off x="9364785" y="1444986"/>
            <a:ext cx="1727783" cy="467945"/>
          </a:xfrm>
          <a:prstGeom prst="wedgeRectCallout">
            <a:avLst>
              <a:gd name="adj1" fmla="val -35505"/>
              <a:gd name="adj2" fmla="val 79913"/>
            </a:avLst>
          </a:prstGeom>
          <a:solidFill>
            <a:schemeClr val="bg1">
              <a:lumMod val="95000"/>
            </a:schemeClr>
          </a:solidFill>
          <a:ln>
            <a:noFill/>
          </a:ln>
        </p:spPr>
        <p:style>
          <a:lnRef idx="0">
            <a:scrgbClr r="0" g="0" b="0"/>
          </a:lnRef>
          <a:fillRef idx="0">
            <a:scrgbClr r="0" g="0" b="0"/>
          </a:fillRef>
          <a:effectRef idx="0">
            <a:scrgbClr r="0" g="0" b="0"/>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1" u="none" strike="noStrike" kern="1200" cap="none" spc="0" normalizeH="0" baseline="0" noProof="0">
                <a:ln>
                  <a:noFill/>
                </a:ln>
                <a:solidFill>
                  <a:srgbClr val="304659"/>
                </a:solidFill>
                <a:effectLst/>
                <a:uLnTx/>
                <a:uFillTx/>
                <a:latin typeface="Calibri" panose="020F0502020204030204"/>
                <a:ea typeface="+mn-ea"/>
                <a:cs typeface="+mn-cs"/>
              </a:rPr>
              <a:t>Fill in left to right, top to bottom</a:t>
            </a:r>
          </a:p>
        </p:txBody>
      </p:sp>
    </p:spTree>
    <p:extLst>
      <p:ext uri="{BB962C8B-B14F-4D97-AF65-F5344CB8AC3E}">
        <p14:creationId xmlns:p14="http://schemas.microsoft.com/office/powerpoint/2010/main" val="171562904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kGv4BFCori6VqMXUmuvfg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rinity Template 3.0">
  <a:themeElements>
    <a:clrScheme name="Trinity Theme Colors">
      <a:dk1>
        <a:srgbClr val="304659"/>
      </a:dk1>
      <a:lt1>
        <a:srgbClr val="FFFFFF"/>
      </a:lt1>
      <a:dk2>
        <a:srgbClr val="172B3C"/>
      </a:dk2>
      <a:lt2>
        <a:srgbClr val="E7E6E6"/>
      </a:lt2>
      <a:accent1>
        <a:srgbClr val="346393"/>
      </a:accent1>
      <a:accent2>
        <a:srgbClr val="546EB2"/>
      </a:accent2>
      <a:accent3>
        <a:srgbClr val="199B9B"/>
      </a:accent3>
      <a:accent4>
        <a:srgbClr val="A3CB5F"/>
      </a:accent4>
      <a:accent5>
        <a:srgbClr val="D8482B"/>
      </a:accent5>
      <a:accent6>
        <a:srgbClr val="8D1130"/>
      </a:accent6>
      <a:hlink>
        <a:srgbClr val="0563C1"/>
      </a:hlink>
      <a:folHlink>
        <a:srgbClr val="5C5DA7"/>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spPr>
      <a:bodyPr/>
      <a:lstStyle/>
      <a:style>
        <a:lnRef idx="0">
          <a:scrgbClr r="0" g="0" b="0"/>
        </a:lnRef>
        <a:fillRef idx="0">
          <a:scrgbClr r="0" g="0" b="0"/>
        </a:fillRef>
        <a:effectRef idx="0">
          <a:scrgbClr r="0" g="0" b="0"/>
        </a:effectRef>
        <a:fontRef idx="minor">
          <a:schemeClr val="lt1"/>
        </a:fontRef>
      </a:style>
    </a:spDef>
    <a:txDef>
      <a:spPr>
        <a:noFill/>
      </a:spPr>
      <a:bodyPr wrap="square" rtlCol="0">
        <a:noAutofit/>
      </a:bodyPr>
      <a:lstStyle>
        <a:defPPr marL="233363" indent="-230188">
          <a:spcBef>
            <a:spcPts val="600"/>
          </a:spcBef>
          <a:spcAft>
            <a:spcPts val="600"/>
          </a:spcAft>
          <a:buClr>
            <a:srgbClr val="303030">
              <a:lumMod val="50000"/>
              <a:lumOff val="50000"/>
            </a:srgbClr>
          </a:buClr>
          <a:buFont typeface="Arial" panose="020B0604020202020204" pitchFamily="34" charset="0"/>
          <a:buChar char="•"/>
          <a:defRPr sz="2000" dirty="0">
            <a:solidFill>
              <a:srgbClr val="002240"/>
            </a:solidFill>
            <a:cs typeface="Tahoma" pitchFamily="34" charset="0"/>
          </a:defRPr>
        </a:defPPr>
      </a:lstStyle>
    </a:txDef>
  </a:objectDefaults>
  <a:extraClrSchemeLst/>
  <a:extLst>
    <a:ext uri="{05A4C25C-085E-4340-85A3-A5531E510DB2}">
      <thm15:themeFamily xmlns:thm15="http://schemas.microsoft.com/office/thememl/2012/main" name="Widescreen template (1).pptx" id="{06B2C1B2-0649-4410-9A4A-E30A7482EB68}" vid="{751BB556-1AF9-4460-A212-BDD9BFC28F32}"/>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Trinity Powerpoint Template" ma:contentTypeID="0x01010024647BC94BF07744B029F39B4A18F9F700E851DEE5446DF642B7FEB03AED0411B0" ma:contentTypeVersion="12" ma:contentTypeDescription="" ma:contentTypeScope="" ma:versionID="eab1cf0da9bcce8dc479ab5a0b5db3bb">
  <xsd:schema xmlns:xsd="http://www.w3.org/2001/XMLSchema" xmlns:xs="http://www.w3.org/2001/XMLSchema" xmlns:p="http://schemas.microsoft.com/office/2006/metadata/properties" xmlns:ns2="6d05a1d3-8381-4269-b97b-c59591b0fcbf" xmlns:ns3="54a53f59-c304-4886-9a17-7fc183a25b92" targetNamespace="http://schemas.microsoft.com/office/2006/metadata/properties" ma:root="true" ma:fieldsID="dceca409e748b97419b162836b3078fd" ns2:_="" ns3:_="">
    <xsd:import namespace="6d05a1d3-8381-4269-b97b-c59591b0fcbf"/>
    <xsd:import namespace="54a53f59-c304-4886-9a17-7fc183a25b92"/>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AutoTags" minOccurs="0"/>
                <xsd:element ref="ns2:MediaServiceGenerationTime" minOccurs="0"/>
                <xsd:element ref="ns2:MediaServiceEventHashCode" minOccurs="0"/>
                <xsd:element ref="ns2:MediaServiceDateTaken" minOccurs="0"/>
                <xsd:element ref="ns2:MediaServiceOCR"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d05a1d3-8381-4269-b97b-c59591b0fcb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2" nillable="true" ma:displayName="Tags" ma:internalName="MediaServiceAutoTags"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ServiceDateTaken" ma:index="15" nillable="true" ma:displayName="MediaServiceDateTaken" ma:hidden="true" ma:internalName="MediaServiceDateTaken"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54a53f59-c304-4886-9a17-7fc183a25b92"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9FA821CE-AEF2-44CE-A85D-AE5B456D39C4}">
  <ds:schemaRefs>
    <ds:schemaRef ds:uri="http://schemas.microsoft.com/sharepoint/v3/contenttype/forms"/>
  </ds:schemaRefs>
</ds:datastoreItem>
</file>

<file path=customXml/itemProps2.xml><?xml version="1.0" encoding="utf-8"?>
<ds:datastoreItem xmlns:ds="http://schemas.openxmlformats.org/officeDocument/2006/customXml" ds:itemID="{5A53CCE1-4657-492A-B0FE-9D895D9461F5}">
  <ds:schemaRefs>
    <ds:schemaRef ds:uri="54a53f59-c304-4886-9a17-7fc183a25b92"/>
    <ds:schemaRef ds:uri="6d05a1d3-8381-4269-b97b-c59591b0fcbf"/>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6E76BEA3-4E07-476A-A775-0AF552C6166A}">
  <ds:schemaRefs>
    <ds:schemaRef ds:uri="54a53f59-c304-4886-9a17-7fc183a25b92"/>
    <ds:schemaRef ds:uri="6d05a1d3-8381-4269-b97b-c59591b0fcbf"/>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Metadata/LabelInfo.xml><?xml version="1.0" encoding="utf-8"?>
<clbl:labelList xmlns:clbl="http://schemas.microsoft.com/office/2020/mipLabelMetadata">
  <clbl:label id="{c88fe011-1411-4e3a-a2cf-3859b305642c}" enabled="0" method="" siteId="{c88fe011-1411-4e3a-a2cf-3859b305642c}" removed="1"/>
</clbl:labelList>
</file>

<file path=docProps/app.xml><?xml version="1.0" encoding="utf-8"?>
<Properties xmlns="http://schemas.openxmlformats.org/officeDocument/2006/extended-properties" xmlns:vt="http://schemas.openxmlformats.org/officeDocument/2006/docPropsVTypes">
  <Template>blank</Template>
  <TotalTime>14335</TotalTime>
  <Words>499</Words>
  <Application>Microsoft Office PowerPoint</Application>
  <PresentationFormat>Widescreen</PresentationFormat>
  <Paragraphs>35</Paragraphs>
  <Slides>6</Slides>
  <Notes>3</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6</vt:i4>
      </vt:variant>
    </vt:vector>
  </HeadingPairs>
  <TitlesOfParts>
    <vt:vector size="11" baseType="lpstr">
      <vt:lpstr>Arial</vt:lpstr>
      <vt:lpstr>Calibri</vt:lpstr>
      <vt:lpstr>Courier New</vt:lpstr>
      <vt:lpstr>Trinity Template 3.0</vt:lpstr>
      <vt:lpstr>think-cell Slide</vt:lpstr>
      <vt:lpstr>IntelligenceEDGE Generative AI</vt:lpstr>
      <vt:lpstr>Generative AI requirements</vt:lpstr>
      <vt:lpstr>Generative AI Architecture (Proposed)</vt:lpstr>
      <vt:lpstr>Azure AI Search + Azure Open AI</vt:lpstr>
      <vt:lpstr>Llamaindex</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Nat Mohan</dc:creator>
  <cp:lastModifiedBy>Nat Mohan</cp:lastModifiedBy>
  <cp:revision>2</cp:revision>
  <dcterms:created xsi:type="dcterms:W3CDTF">2024-07-16T03:51:27Z</dcterms:created>
  <dcterms:modified xsi:type="dcterms:W3CDTF">2024-10-16T04:04:1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4647BC94BF07744B029F39B4A18F9F700E851DEE5446DF642B7FEB03AED0411B0</vt:lpwstr>
  </property>
</Properties>
</file>